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22" r:id="rId1"/>
  </p:sldMasterIdLst>
  <p:notesMasterIdLst>
    <p:notesMasterId r:id="rId63"/>
  </p:notesMasterIdLst>
  <p:handoutMasterIdLst>
    <p:handoutMasterId r:id="rId64"/>
  </p:handoutMasterIdLst>
  <p:sldIdLst>
    <p:sldId id="256" r:id="rId2"/>
    <p:sldId id="257" r:id="rId3"/>
    <p:sldId id="261" r:id="rId4"/>
    <p:sldId id="267" r:id="rId5"/>
    <p:sldId id="306" r:id="rId6"/>
    <p:sldId id="268" r:id="rId7"/>
    <p:sldId id="269" r:id="rId8"/>
    <p:sldId id="327" r:id="rId9"/>
    <p:sldId id="328" r:id="rId10"/>
    <p:sldId id="329" r:id="rId11"/>
    <p:sldId id="309" r:id="rId12"/>
    <p:sldId id="307" r:id="rId13"/>
    <p:sldId id="285" r:id="rId14"/>
    <p:sldId id="291" r:id="rId15"/>
    <p:sldId id="293" r:id="rId16"/>
    <p:sldId id="292" r:id="rId17"/>
    <p:sldId id="294" r:id="rId18"/>
    <p:sldId id="295" r:id="rId19"/>
    <p:sldId id="296" r:id="rId20"/>
    <p:sldId id="297" r:id="rId21"/>
    <p:sldId id="298" r:id="rId22"/>
    <p:sldId id="301" r:id="rId23"/>
    <p:sldId id="300" r:id="rId24"/>
    <p:sldId id="302" r:id="rId25"/>
    <p:sldId id="303" r:id="rId26"/>
    <p:sldId id="326" r:id="rId27"/>
    <p:sldId id="308" r:id="rId28"/>
    <p:sldId id="305" r:id="rId29"/>
    <p:sldId id="331" r:id="rId30"/>
    <p:sldId id="332" r:id="rId31"/>
    <p:sldId id="333" r:id="rId32"/>
    <p:sldId id="287" r:id="rId33"/>
    <p:sldId id="311" r:id="rId34"/>
    <p:sldId id="312" r:id="rId35"/>
    <p:sldId id="313" r:id="rId36"/>
    <p:sldId id="317" r:id="rId37"/>
    <p:sldId id="320" r:id="rId38"/>
    <p:sldId id="321" r:id="rId39"/>
    <p:sldId id="323" r:id="rId40"/>
    <p:sldId id="324" r:id="rId41"/>
    <p:sldId id="316" r:id="rId42"/>
    <p:sldId id="350" r:id="rId43"/>
    <p:sldId id="351" r:id="rId44"/>
    <p:sldId id="338" r:id="rId45"/>
    <p:sldId id="336" r:id="rId46"/>
    <p:sldId id="337" r:id="rId47"/>
    <p:sldId id="354" r:id="rId48"/>
    <p:sldId id="288" r:id="rId49"/>
    <p:sldId id="339" r:id="rId50"/>
    <p:sldId id="342" r:id="rId51"/>
    <p:sldId id="343" r:id="rId52"/>
    <p:sldId id="345" r:id="rId53"/>
    <p:sldId id="346" r:id="rId54"/>
    <p:sldId id="347" r:id="rId55"/>
    <p:sldId id="348" r:id="rId56"/>
    <p:sldId id="355" r:id="rId57"/>
    <p:sldId id="352" r:id="rId58"/>
    <p:sldId id="356" r:id="rId59"/>
    <p:sldId id="289" r:id="rId60"/>
    <p:sldId id="357" r:id="rId61"/>
    <p:sldId id="358" r:id="rId62"/>
  </p:sldIdLst>
  <p:sldSz cx="12192000" cy="6858000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595959"/>
    <a:srgbClr val="00B1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57" autoAdjust="0"/>
    <p:restoredTop sz="95770" autoAdjust="0"/>
  </p:normalViewPr>
  <p:slideViewPr>
    <p:cSldViewPr>
      <p:cViewPr varScale="1">
        <p:scale>
          <a:sx n="105" d="100"/>
          <a:sy n="105" d="100"/>
        </p:scale>
        <p:origin x="336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-3672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>
              <a:latin typeface="Verdana" panose="020B060403050404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4A8EF8E-4980-4294-8573-D32C1B156472}" type="datetimeFigureOut">
              <a:rPr lang="de-DE">
                <a:latin typeface="Verdana" panose="020B0604030504040204" pitchFamily="34" charset="0"/>
              </a:rPr>
              <a:pPr>
                <a:defRPr/>
              </a:pPr>
              <a:t>11.08.2020</a:t>
            </a:fld>
            <a:endParaRPr lang="de-DE" dirty="0">
              <a:latin typeface="Verdana" panose="020B060403050404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>
              <a:latin typeface="Verdana" panose="020B060403050404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C9BFA06A-468D-4556-915C-D00A0EF3EB1A}" type="slidenum">
              <a:rPr lang="de-DE">
                <a:latin typeface="Verdana" panose="020B0604030504040204" pitchFamily="34" charset="0"/>
              </a:rPr>
              <a:pPr>
                <a:defRPr/>
              </a:pPr>
              <a:t>‹Nr.›</a:t>
            </a:fld>
            <a:endParaRPr lang="de-DE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302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5AE3F3DF-ED08-4B24-B3DF-5FB1B77048A5}" type="datetimeFigureOut">
              <a:rPr lang="de-DE" smtClean="0"/>
              <a:pPr>
                <a:defRPr/>
              </a:pPr>
              <a:t>11.08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5425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47606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87973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4940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58326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66462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25748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37292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7928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9376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93342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3156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5082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6008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2783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09649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13447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05488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53756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08854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39882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410336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438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96590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0479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3030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2949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30768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646805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921955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65142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519455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06841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5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1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2685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3112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8478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08553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1120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C3843F5-C9F9-48B7-AD34-62EBF96A5BE7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505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Gerade Verbindung 5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14400" y="2130430"/>
            <a:ext cx="10363200" cy="1658615"/>
          </a:xfrm>
          <a:prstGeom prst="rect">
            <a:avLst/>
          </a:prstGeom>
        </p:spPr>
        <p:txBody>
          <a:bodyPr anchor="b"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Referent</a:t>
            </a:r>
          </a:p>
        </p:txBody>
      </p:sp>
      <p:cxnSp>
        <p:nvCxnSpPr>
          <p:cNvPr id="7" name="Gerade Verbindung 8"/>
          <p:cNvCxnSpPr/>
          <p:nvPr userDrawn="1"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3637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739BF1E-4FB8-47BE-BD17-4F8A22C6844F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7" hasCustomPrompt="1"/>
          </p:nvPr>
        </p:nvSpPr>
        <p:spPr>
          <a:xfrm>
            <a:off x="528000" y="93600"/>
            <a:ext cx="10886400" cy="5040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[Kapitelnummer] – [Titel des Kapitels]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464" y="2715095"/>
            <a:ext cx="2440032" cy="136394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624" y="836717"/>
            <a:ext cx="8739323" cy="5120697"/>
          </a:xfrm>
          <a:prstGeom prst="rect">
            <a:avLst/>
          </a:prstGeom>
        </p:spPr>
      </p:pic>
      <p:sp>
        <p:nvSpPr>
          <p:cNvPr id="9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4949031" y="1484788"/>
            <a:ext cx="4224469" cy="4176465"/>
          </a:xfr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de-DE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839830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66794B8-419F-427C-85DF-A52B22788AB5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/>
        </p:blipFill>
        <p:spPr bwMode="auto">
          <a:xfrm>
            <a:off x="3" y="710386"/>
            <a:ext cx="9305199" cy="5454918"/>
          </a:xfrm>
          <a:prstGeom prst="rect">
            <a:avLst/>
          </a:prstGeom>
        </p:spPr>
      </p:pic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096000" y="5157197"/>
            <a:ext cx="5952661" cy="79188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>
              <a:defRPr/>
            </a:pPr>
            <a:r>
              <a:rPr lang="de-DE" dirty="0"/>
              <a:t>Vielen Dank für Ihre Aufmerksamkeit!</a:t>
            </a:r>
          </a:p>
        </p:txBody>
      </p:sp>
      <p:sp>
        <p:nvSpPr>
          <p:cNvPr id="8" name="Textfeld 7"/>
          <p:cNvSpPr>
            <a:spLocks/>
          </p:cNvSpPr>
          <p:nvPr userDrawn="1"/>
        </p:nvSpPr>
        <p:spPr bwMode="auto">
          <a:xfrm rot="5400000">
            <a:off x="10851436" y="3412441"/>
            <a:ext cx="1529586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defRPr/>
            </a:pPr>
            <a:r>
              <a:rPr lang="en-US" sz="800"/>
              <a:t>Foto bearbeitet nach Pixabay</a:t>
            </a:r>
          </a:p>
        </p:txBody>
      </p:sp>
    </p:spTree>
    <p:extLst>
      <p:ext uri="{BB962C8B-B14F-4D97-AF65-F5344CB8AC3E}">
        <p14:creationId xmlns:p14="http://schemas.microsoft.com/office/powerpoint/2010/main" val="308730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C97111-5DD1-4DAD-835C-069A6981EA9A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160" y="1993114"/>
            <a:ext cx="2948830" cy="2952328"/>
          </a:xfrm>
          <a:prstGeom prst="rect">
            <a:avLst/>
          </a:prstGeom>
        </p:spPr>
      </p:pic>
      <p:sp>
        <p:nvSpPr>
          <p:cNvPr id="9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532800" y="1483200"/>
            <a:ext cx="7483413" cy="4608000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800100" indent="-342900">
              <a:buFont typeface="+mj-lt"/>
              <a:buAutoNum type="arabicPeriod"/>
              <a:defRPr/>
            </a:lvl2pPr>
            <a:lvl3pPr marL="1143000" indent="-228600">
              <a:buFont typeface="+mj-lt"/>
              <a:buAutoNum type="arabicPeriod"/>
              <a:defRPr/>
            </a:lvl3pPr>
            <a:lvl4pPr marL="1600200" indent="-228600">
              <a:buFont typeface="+mj-lt"/>
              <a:buAutoNum type="arabicPeriod"/>
              <a:defRPr/>
            </a:lvl4pPr>
            <a:lvl5pPr marL="2057400" indent="-2286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27053" y="1052518"/>
            <a:ext cx="7489163" cy="36026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dirty="0"/>
              <a:t>Agenda / Inhalt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219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39B7A2E-CEFC-47F4-B2C0-3E058A6C8412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9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532800" y="1483200"/>
            <a:ext cx="7483413" cy="4608000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800100" indent="-342900">
              <a:buFont typeface="+mj-lt"/>
              <a:buAutoNum type="arabicPeriod"/>
              <a:defRPr/>
            </a:lvl2pPr>
            <a:lvl3pPr marL="1143000" indent="-228600">
              <a:buFont typeface="+mj-lt"/>
              <a:buAutoNum type="arabicPeriod"/>
              <a:defRPr/>
            </a:lvl3pPr>
            <a:lvl4pPr marL="1600200" indent="-228600">
              <a:buFont typeface="+mj-lt"/>
              <a:buAutoNum type="arabicPeriod"/>
              <a:defRPr/>
            </a:lvl4pPr>
            <a:lvl5pPr marL="2057400" indent="-2286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27053" y="1052518"/>
            <a:ext cx="7489163" cy="360263"/>
          </a:xfrm>
        </p:spPr>
        <p:txBody>
          <a:bodyPr/>
          <a:lstStyle>
            <a:lvl1pPr marL="0" indent="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buNone/>
              <a:defRPr b="1"/>
            </a:lvl1pPr>
          </a:lstStyle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rnziele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05"/>
          <a:stretch/>
        </p:blipFill>
        <p:spPr>
          <a:xfrm>
            <a:off x="8064221" y="1988840"/>
            <a:ext cx="3216355" cy="3408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151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820AA35-0C2A-496A-B0EB-8B199953A5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255576" y="4149085"/>
            <a:ext cx="7680853" cy="791889"/>
          </a:xfrm>
        </p:spPr>
        <p:txBody>
          <a:bodyPr anchor="b"/>
          <a:lstStyle>
            <a:lvl1pPr marL="0" indent="0" algn="ctr">
              <a:buNone/>
              <a:defRPr sz="2800" baseline="0"/>
            </a:lvl1pPr>
          </a:lstStyle>
          <a:p>
            <a:pPr lvl="0"/>
            <a:r>
              <a:rPr lang="de-DE" dirty="0"/>
              <a:t>Titel des Kapitels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255576" y="5013177"/>
            <a:ext cx="7680853" cy="360040"/>
          </a:xfrm>
        </p:spPr>
        <p:txBody>
          <a:bodyPr anchor="b"/>
          <a:lstStyle>
            <a:lvl1pPr marL="0" indent="0" algn="ctr">
              <a:buNone/>
              <a:defRPr sz="1400" b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Kapitel X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2256369" y="1124749"/>
            <a:ext cx="7679267" cy="2809081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de-DE" dirty="0"/>
              <a:t>Ansprechendes Bild für Das Kapitel</a:t>
            </a:r>
            <a:br>
              <a:rPr lang="de-DE" dirty="0"/>
            </a:br>
            <a:r>
              <a:rPr lang="de-DE" dirty="0"/>
              <a:t>Ideen unter: www.pixabay.com</a:t>
            </a:r>
          </a:p>
        </p:txBody>
      </p:sp>
      <p:cxnSp>
        <p:nvCxnSpPr>
          <p:cNvPr id="8" name="Gerade Verbindung 8"/>
          <p:cNvCxnSpPr/>
          <p:nvPr userDrawn="1"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9862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la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21668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12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6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8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2"/>
          <p:cNvSpPr>
            <a:spLocks noGrp="1"/>
          </p:cNvSpPr>
          <p:nvPr>
            <p:ph idx="17" hasCustomPrompt="1"/>
          </p:nvPr>
        </p:nvSpPr>
        <p:spPr>
          <a:xfrm>
            <a:off x="528000" y="93600"/>
            <a:ext cx="10886400" cy="5040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[Kapitelnummer] – [Titel des Kapitels]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528000" y="1963316"/>
            <a:ext cx="10886400" cy="4012037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356355"/>
            <a:ext cx="1727573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fld id="{FFBD0218-73DC-4B46-BB52-85375D6D3F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356355"/>
            <a:ext cx="5760640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22"/>
          </p:nvPr>
        </p:nvSpPr>
        <p:spPr>
          <a:xfrm>
            <a:off x="10608501" y="6356354"/>
            <a:ext cx="805899" cy="365125"/>
          </a:xfrm>
        </p:spPr>
        <p:txBody>
          <a:bodyPr anchor="ctr"/>
          <a:lstStyle>
            <a:lvl1pPr>
              <a:defRPr sz="1000" b="1">
                <a:solidFill>
                  <a:schemeClr val="accent1"/>
                </a:solidFill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28000" y="1118043"/>
            <a:ext cx="10886400" cy="654772"/>
          </a:xfr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6119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8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2"/>
          <p:cNvSpPr>
            <a:spLocks noGrp="1"/>
          </p:cNvSpPr>
          <p:nvPr>
            <p:ph idx="17" hasCustomPrompt="1"/>
          </p:nvPr>
        </p:nvSpPr>
        <p:spPr>
          <a:xfrm>
            <a:off x="528000" y="93600"/>
            <a:ext cx="10886400" cy="5040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[Kapitelnummer] – [Titel des Kapitels]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356355"/>
            <a:ext cx="1727573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fld id="{A4B8B0E9-159D-4C8A-AC0A-49B50E76A71E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356355"/>
            <a:ext cx="5760640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22"/>
          </p:nvPr>
        </p:nvSpPr>
        <p:spPr>
          <a:xfrm>
            <a:off x="10608501" y="6356354"/>
            <a:ext cx="805899" cy="365125"/>
          </a:xfrm>
        </p:spPr>
        <p:txBody>
          <a:bodyPr anchor="ctr"/>
          <a:lstStyle>
            <a:lvl1pPr>
              <a:defRPr sz="1000" b="1">
                <a:solidFill>
                  <a:schemeClr val="accent1"/>
                </a:solidFill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3"/>
          </p:nvPr>
        </p:nvSpPr>
        <p:spPr>
          <a:xfrm>
            <a:off x="527052" y="1963314"/>
            <a:ext cx="10888133" cy="4012038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24"/>
          </p:nvPr>
        </p:nvSpPr>
        <p:spPr>
          <a:xfrm>
            <a:off x="528000" y="1118043"/>
            <a:ext cx="10886400" cy="654772"/>
          </a:xfr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0483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 +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8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2"/>
          <p:cNvSpPr>
            <a:spLocks noGrp="1"/>
          </p:cNvSpPr>
          <p:nvPr>
            <p:ph idx="17" hasCustomPrompt="1"/>
          </p:nvPr>
        </p:nvSpPr>
        <p:spPr>
          <a:xfrm>
            <a:off x="528000" y="93600"/>
            <a:ext cx="10886400" cy="5040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[Kapitelnummer] – [Titel des Kapitels]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528000" y="1963314"/>
            <a:ext cx="10886400" cy="3148402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356355"/>
            <a:ext cx="1727573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fld id="{FA8B0450-E744-42A3-A6B3-F4BCF1B10F9A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356355"/>
            <a:ext cx="5760640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22"/>
          </p:nvPr>
        </p:nvSpPr>
        <p:spPr>
          <a:xfrm>
            <a:off x="10608501" y="6356354"/>
            <a:ext cx="805899" cy="365125"/>
          </a:xfrm>
        </p:spPr>
        <p:txBody>
          <a:bodyPr anchor="ctr"/>
          <a:lstStyle>
            <a:lvl1pPr>
              <a:defRPr sz="1000" b="1">
                <a:solidFill>
                  <a:schemeClr val="accent1"/>
                </a:solidFill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1218672" y="5314783"/>
            <a:ext cx="9505056" cy="648000"/>
            <a:chOff x="1259632" y="4437111"/>
            <a:chExt cx="6768752" cy="1080120"/>
          </a:xfrm>
        </p:grpSpPr>
        <p:sp>
          <p:nvSpPr>
            <p:cNvPr id="13" name="Rechteck 12"/>
            <p:cNvSpPr/>
            <p:nvPr/>
          </p:nvSpPr>
          <p:spPr>
            <a:xfrm>
              <a:off x="1259632" y="4437111"/>
              <a:ext cx="6768752" cy="108012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0"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14" name="Chevron 13"/>
            <p:cNvSpPr/>
            <p:nvPr/>
          </p:nvSpPr>
          <p:spPr>
            <a:xfrm>
              <a:off x="1403648" y="4617132"/>
              <a:ext cx="360040" cy="720080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15" name="Chevron 14"/>
            <p:cNvSpPr/>
            <p:nvPr/>
          </p:nvSpPr>
          <p:spPr>
            <a:xfrm rot="10800000">
              <a:off x="7524328" y="4617132"/>
              <a:ext cx="360040" cy="720080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28000" y="1118043"/>
            <a:ext cx="10886400" cy="654772"/>
          </a:xfr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4"/>
          </p:nvPr>
        </p:nvSpPr>
        <p:spPr>
          <a:xfrm>
            <a:off x="1926498" y="5302216"/>
            <a:ext cx="8089409" cy="660568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865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la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8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2"/>
          <p:cNvSpPr>
            <a:spLocks noGrp="1"/>
          </p:cNvSpPr>
          <p:nvPr>
            <p:ph idx="17" hasCustomPrompt="1"/>
          </p:nvPr>
        </p:nvSpPr>
        <p:spPr>
          <a:xfrm>
            <a:off x="528000" y="93600"/>
            <a:ext cx="10886400" cy="5040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[Kapitelnummer] – [Titel des Kapitels]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528000" y="1963316"/>
            <a:ext cx="5280000" cy="4012037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356355"/>
            <a:ext cx="1727573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fld id="{96106FE8-5003-4AFD-83D8-17F12A09148C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356355"/>
            <a:ext cx="5760640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22"/>
          </p:nvPr>
        </p:nvSpPr>
        <p:spPr>
          <a:xfrm>
            <a:off x="10608501" y="6356354"/>
            <a:ext cx="805899" cy="365125"/>
          </a:xfrm>
        </p:spPr>
        <p:txBody>
          <a:bodyPr anchor="ctr"/>
          <a:lstStyle>
            <a:lvl1pPr>
              <a:defRPr sz="1000" b="1">
                <a:solidFill>
                  <a:schemeClr val="accent1"/>
                </a:solidFill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23"/>
          </p:nvPr>
        </p:nvSpPr>
        <p:spPr>
          <a:xfrm>
            <a:off x="6134400" y="1963314"/>
            <a:ext cx="5280000" cy="401400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4"/>
          </p:nvPr>
        </p:nvSpPr>
        <p:spPr>
          <a:xfrm>
            <a:off x="528000" y="1118043"/>
            <a:ext cx="10886400" cy="654772"/>
          </a:xfr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88957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12" hidden="1"/>
          <p:cNvGraphicFramePr>
            <a:graphicFrameLocks noChangeAspect="1"/>
          </p:cNvGraphicFramePr>
          <p:nvPr/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8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2"/>
          <p:cNvSpPr>
            <a:spLocks noGrp="1"/>
          </p:cNvSpPr>
          <p:nvPr>
            <p:ph idx="17" hasCustomPrompt="1"/>
          </p:nvPr>
        </p:nvSpPr>
        <p:spPr>
          <a:xfrm>
            <a:off x="528000" y="93600"/>
            <a:ext cx="10886400" cy="50405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[Kapitelnummer] – [Titel des Kapitels]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528000" y="6356355"/>
            <a:ext cx="1727573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fld id="{57039EA2-2727-405B-A723-71BC32175A44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215680" y="6356355"/>
            <a:ext cx="5760640" cy="365125"/>
          </a:xfrm>
        </p:spPr>
        <p:txBody>
          <a:bodyPr anchor="ctr"/>
          <a:lstStyle>
            <a:lvl1pPr>
              <a:defRPr sz="1000"/>
            </a:lvl1pPr>
          </a:lstStyle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22"/>
          </p:nvPr>
        </p:nvSpPr>
        <p:spPr>
          <a:xfrm>
            <a:off x="10608501" y="6356354"/>
            <a:ext cx="805899" cy="365125"/>
          </a:xfrm>
        </p:spPr>
        <p:txBody>
          <a:bodyPr anchor="ctr"/>
          <a:lstStyle>
            <a:lvl1pPr>
              <a:defRPr sz="1000" b="1">
                <a:solidFill>
                  <a:schemeClr val="accent1"/>
                </a:solidFill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24"/>
          </p:nvPr>
        </p:nvSpPr>
        <p:spPr>
          <a:xfrm>
            <a:off x="527051" y="1963314"/>
            <a:ext cx="5280000" cy="4012038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25"/>
          </p:nvPr>
        </p:nvSpPr>
        <p:spPr>
          <a:xfrm>
            <a:off x="6134400" y="1963314"/>
            <a:ext cx="5280000" cy="4012038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28000" y="1118043"/>
            <a:ext cx="10886400" cy="654772"/>
          </a:xfrm>
          <a:solidFill>
            <a:schemeClr val="tx1">
              <a:lumMod val="65000"/>
              <a:lumOff val="35000"/>
            </a:schemeClr>
          </a:solidFill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812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45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528000" y="6356355"/>
            <a:ext cx="1727573" cy="365125"/>
          </a:xfrm>
          <a:prstGeom prst="rect">
            <a:avLst/>
          </a:prstGeom>
        </p:spPr>
        <p:txBody>
          <a:bodyPr anchor="ctr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Verdana" panose="020B0604030504040204" pitchFamily="34" charset="0"/>
                <a:cs typeface="+mn-cs"/>
              </a:defRPr>
            </a:lvl1pPr>
          </a:lstStyle>
          <a:p>
            <a:pPr>
              <a:defRPr/>
            </a:pPr>
            <a:fld id="{335C8E34-BF73-4BDF-84E2-6614A0A821E9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15680" y="6356355"/>
            <a:ext cx="5760640" cy="365125"/>
          </a:xfrm>
          <a:prstGeom prst="rect">
            <a:avLst/>
          </a:prstGeom>
        </p:spPr>
        <p:txBody>
          <a:bodyPr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Verdana" panose="020B060403050404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13369" y="6356355"/>
            <a:ext cx="806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fld id="{E7C560E8-A540-43FD-B37B-489019C61E1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6165850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33369" y="1483205"/>
            <a:ext cx="10886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0" y="692696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9" descr="FHAAC_RGB_oBL-r.jp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2827" y="332656"/>
            <a:ext cx="579173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7950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5" r:id="rId2"/>
    <p:sldLayoutId id="2147484135" r:id="rId3"/>
    <p:sldLayoutId id="2147484128" r:id="rId4"/>
    <p:sldLayoutId id="2147484124" r:id="rId5"/>
    <p:sldLayoutId id="2147484132" r:id="rId6"/>
    <p:sldLayoutId id="2147484131" r:id="rId7"/>
    <p:sldLayoutId id="2147484133" r:id="rId8"/>
    <p:sldLayoutId id="2147484134" r:id="rId9"/>
    <p:sldLayoutId id="2147484137" r:id="rId10"/>
    <p:sldLayoutId id="2147484136" r:id="rId11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285750" indent="-285750" algn="l" rtl="0" eaLnBrk="1" fontAlgn="base" hangingPunct="1">
        <a:spcBef>
          <a:spcPct val="20000"/>
        </a:spcBef>
        <a:spcAft>
          <a:spcPts val="600"/>
        </a:spcAft>
        <a:buClr>
          <a:srgbClr val="00B1AC"/>
        </a:buClr>
        <a:buFont typeface="Wingdings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ts val="600"/>
        </a:spcAft>
        <a:buClr>
          <a:srgbClr val="7F7F7F"/>
        </a:buClr>
        <a:buFont typeface="Wingdings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50" indent="-171450" algn="l" rtl="0" eaLnBrk="1" fontAlgn="base" hangingPunct="1">
        <a:spcBef>
          <a:spcPct val="20000"/>
        </a:spcBef>
        <a:spcAft>
          <a:spcPts val="600"/>
        </a:spcAft>
        <a:buClr>
          <a:srgbClr val="7F7F7F"/>
        </a:buClr>
        <a:buFont typeface="Wingdings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indent="-171450" algn="l" rtl="0" eaLnBrk="1" fontAlgn="base" hangingPunct="1">
        <a:spcBef>
          <a:spcPct val="20000"/>
        </a:spcBef>
        <a:spcAft>
          <a:spcPts val="600"/>
        </a:spcAft>
        <a:buClr>
          <a:srgbClr val="7F7F7F"/>
        </a:buClr>
        <a:buFont typeface="Wingdings" pitchFamily="2" charset="2"/>
        <a:buChar char="n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2000250" indent="-171450" algn="l" rtl="0" eaLnBrk="1" fontAlgn="base" hangingPunct="1">
        <a:spcBef>
          <a:spcPct val="20000"/>
        </a:spcBef>
        <a:spcAft>
          <a:spcPts val="600"/>
        </a:spcAft>
        <a:buClr>
          <a:srgbClr val="7F7F7F"/>
        </a:buClr>
        <a:buFont typeface="Wingdings" pitchFamily="2" charset="2"/>
        <a:buChar char="n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27.png"/><Relationship Id="rId7" Type="http://schemas.openxmlformats.org/officeDocument/2006/relationships/image" Target="../media/image23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svg"/><Relationship Id="rId11" Type="http://schemas.openxmlformats.org/officeDocument/2006/relationships/image" Target="../media/image38.png"/><Relationship Id="rId5" Type="http://schemas.openxmlformats.org/officeDocument/2006/relationships/image" Target="../media/image21.png"/><Relationship Id="rId10" Type="http://schemas.openxmlformats.org/officeDocument/2006/relationships/image" Target="../media/image37.svg"/><Relationship Id="rId4" Type="http://schemas.openxmlformats.org/officeDocument/2006/relationships/image" Target="../media/image28.svg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41.png"/><Relationship Id="rId7" Type="http://schemas.openxmlformats.org/officeDocument/2006/relationships/image" Target="../media/image14.png"/><Relationship Id="rId12" Type="http://schemas.openxmlformats.org/officeDocument/2006/relationships/image" Target="../media/image45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44.svg"/><Relationship Id="rId4" Type="http://schemas.openxmlformats.org/officeDocument/2006/relationships/image" Target="../media/image42.svg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9.svg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sv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svg"/><Relationship Id="rId5" Type="http://schemas.openxmlformats.org/officeDocument/2006/relationships/image" Target="../media/image53.png"/><Relationship Id="rId4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8.jpeg"/><Relationship Id="rId4" Type="http://schemas.microsoft.com/office/2007/relationships/hdphoto" Target="../media/hdphoto2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5" Type="http://schemas.microsoft.com/office/2007/relationships/hdphoto" Target="../media/hdphoto2.wdp"/><Relationship Id="rId4" Type="http://schemas.openxmlformats.org/officeDocument/2006/relationships/image" Target="../media/image5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62.gi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2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00.png"/><Relationship Id="rId4" Type="http://schemas.openxmlformats.org/officeDocument/2006/relationships/image" Target="../media/image59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63.png"/><Relationship Id="rId7" Type="http://schemas.openxmlformats.org/officeDocument/2006/relationships/image" Target="../media/image67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svg"/><Relationship Id="rId9" Type="http://schemas.openxmlformats.org/officeDocument/2006/relationships/image" Target="../media/image5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4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4.svg"/><Relationship Id="rId4" Type="http://schemas.openxmlformats.org/officeDocument/2006/relationships/image" Target="../media/image6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4.svg"/><Relationship Id="rId4" Type="http://schemas.openxmlformats.org/officeDocument/2006/relationships/image" Target="../media/image68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7.png"/><Relationship Id="rId4" Type="http://schemas.openxmlformats.org/officeDocument/2006/relationships/image" Target="../media/image67.sv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63.png"/><Relationship Id="rId7" Type="http://schemas.openxmlformats.org/officeDocument/2006/relationships/image" Target="../media/image67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svg"/><Relationship Id="rId9" Type="http://schemas.openxmlformats.org/officeDocument/2006/relationships/image" Target="../media/image52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4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sv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52.sv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2.svg"/><Relationship Id="rId11" Type="http://schemas.openxmlformats.org/officeDocument/2006/relationships/image" Target="../media/image51.png"/><Relationship Id="rId5" Type="http://schemas.openxmlformats.org/officeDocument/2006/relationships/image" Target="../media/image81.png"/><Relationship Id="rId10" Type="http://schemas.openxmlformats.org/officeDocument/2006/relationships/image" Target="../media/image86.svg"/><Relationship Id="rId4" Type="http://schemas.openxmlformats.org/officeDocument/2006/relationships/image" Target="../media/image80.svg"/><Relationship Id="rId9" Type="http://schemas.openxmlformats.org/officeDocument/2006/relationships/image" Target="../media/image85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8.png"/><Relationship Id="rId5" Type="http://schemas.openxmlformats.org/officeDocument/2006/relationships/image" Target="../media/image870.png"/><Relationship Id="rId4" Type="http://schemas.openxmlformats.org/officeDocument/2006/relationships/image" Target="../media/image88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sv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sv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sv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0.sv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52.sv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2.svg"/><Relationship Id="rId11" Type="http://schemas.openxmlformats.org/officeDocument/2006/relationships/image" Target="../media/image51.png"/><Relationship Id="rId5" Type="http://schemas.openxmlformats.org/officeDocument/2006/relationships/image" Target="../media/image81.png"/><Relationship Id="rId10" Type="http://schemas.openxmlformats.org/officeDocument/2006/relationships/image" Target="../media/image86.svg"/><Relationship Id="rId4" Type="http://schemas.openxmlformats.org/officeDocument/2006/relationships/image" Target="../media/image80.svg"/><Relationship Id="rId9" Type="http://schemas.openxmlformats.org/officeDocument/2006/relationships/image" Target="../media/image85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7" Type="http://schemas.openxmlformats.org/officeDocument/2006/relationships/image" Target="../media/image89.sv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5.png"/><Relationship Id="rId5" Type="http://schemas.openxmlformats.org/officeDocument/2006/relationships/image" Target="../media/image90.svg"/><Relationship Id="rId4" Type="http://schemas.openxmlformats.org/officeDocument/2006/relationships/image" Target="../media/image8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4.svg"/><Relationship Id="rId4" Type="http://schemas.openxmlformats.org/officeDocument/2006/relationships/image" Target="../media/image9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hyperlink" Target="http://149.201.88.150:3000/grafana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6.png"/><Relationship Id="rId4" Type="http://schemas.openxmlformats.org/officeDocument/2006/relationships/hyperlink" Target="https://git.fh-aachen.de/" TargetMode="Externa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8.svg"/><Relationship Id="rId7" Type="http://schemas.openxmlformats.org/officeDocument/2006/relationships/image" Target="../media/image24.svg"/><Relationship Id="rId12" Type="http://schemas.openxmlformats.org/officeDocument/2006/relationships/image" Target="../media/image3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11" Type="http://schemas.openxmlformats.org/officeDocument/2006/relationships/image" Target="../media/image32.png"/><Relationship Id="rId5" Type="http://schemas.openxmlformats.org/officeDocument/2006/relationships/image" Target="../media/image30.svg"/><Relationship Id="rId10" Type="http://schemas.openxmlformats.org/officeDocument/2006/relationships/image" Target="../media/image31.png"/><Relationship Id="rId4" Type="http://schemas.openxmlformats.org/officeDocument/2006/relationships/image" Target="../media/image29.png"/><Relationship Id="rId9" Type="http://schemas.openxmlformats.org/officeDocument/2006/relationships/image" Target="../media/image2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7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8.svg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3600" dirty="0"/>
              <a:t>Agentenbasierte Simulation</a:t>
            </a:r>
            <a:br>
              <a:rPr lang="de-DE" sz="3600" dirty="0"/>
            </a:br>
            <a:r>
              <a:rPr lang="de-DE" sz="2400" b="1" dirty="0" err="1"/>
              <a:t>AGent</a:t>
            </a:r>
            <a:r>
              <a:rPr lang="de-DE" sz="2400" b="1" dirty="0"/>
              <a:t>-DE</a:t>
            </a:r>
            <a:endParaRPr lang="de-DE" sz="3600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Christian Rieke</a:t>
            </a:r>
          </a:p>
        </p:txBody>
      </p:sp>
    </p:spTree>
    <p:extLst>
      <p:ext uri="{BB962C8B-B14F-4D97-AF65-F5344CB8AC3E}">
        <p14:creationId xmlns:p14="http://schemas.microsoft.com/office/powerpoint/2010/main" val="20833834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49D40D-BCBF-4A88-B699-6C7DB076E4F5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2 – Infrastruktur der Simul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2638AF-36D0-4F97-BD78-79E0DE9B6E3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A8760471-1023-4A65-844D-FC6039C1CA81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0E9AAE-3B4A-4DA1-8E26-A3CCC15ACF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5291B1-15B5-4B94-9B3A-5E9D0674850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0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366723-C095-4AEE-B9CF-FC79D99C90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Simulationsergebnisse können während der Berechnung mit Hilfe des Webdienstes </a:t>
            </a:r>
            <a:r>
              <a:rPr lang="de-DE" dirty="0" err="1"/>
              <a:t>Grafana</a:t>
            </a:r>
            <a:r>
              <a:rPr lang="de-DE" dirty="0"/>
              <a:t> angezeigt und ausgewertet werden.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589D728-90A6-42ED-B841-291C518DBC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15680" y="1963316"/>
            <a:ext cx="8198720" cy="4012037"/>
          </a:xfrm>
        </p:spPr>
        <p:txBody>
          <a:bodyPr/>
          <a:lstStyle/>
          <a:p>
            <a:pPr marL="0" indent="0">
              <a:buNone/>
            </a:pPr>
            <a:endParaRPr lang="de-DE" sz="1400" dirty="0"/>
          </a:p>
          <a:p>
            <a:pPr marL="266700" indent="-266700"/>
            <a:endParaRPr lang="de-DE" sz="1400" dirty="0"/>
          </a:p>
          <a:p>
            <a:pPr marL="552450"/>
            <a:endParaRPr lang="de-DE" sz="1400" dirty="0"/>
          </a:p>
          <a:p>
            <a:pPr lvl="1"/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883EF73-5291-494C-AA9F-11F0C78974E7}"/>
              </a:ext>
            </a:extLst>
          </p:cNvPr>
          <p:cNvGrpSpPr/>
          <p:nvPr/>
        </p:nvGrpSpPr>
        <p:grpSpPr>
          <a:xfrm>
            <a:off x="561829" y="1971054"/>
            <a:ext cx="2077787" cy="4050234"/>
            <a:chOff x="561829" y="1971054"/>
            <a:chExt cx="2077787" cy="4050234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6F0963C-B96E-4D16-9A49-12BA24CAC386}"/>
                </a:ext>
              </a:extLst>
            </p:cNvPr>
            <p:cNvSpPr/>
            <p:nvPr/>
          </p:nvSpPr>
          <p:spPr>
            <a:xfrm>
              <a:off x="561829" y="1971054"/>
              <a:ext cx="2077787" cy="405023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149.201.88.150</a:t>
              </a: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bg1">
                      <a:lumMod val="65000"/>
                    </a:schemeClr>
                  </a:solidFill>
                </a:rPr>
                <a:t>InfluxDB</a:t>
              </a:r>
              <a:endParaRPr lang="de-DE" sz="1200" b="1" dirty="0">
                <a:solidFill>
                  <a:schemeClr val="bg1">
                    <a:lumMod val="65000"/>
                  </a:schemeClr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bg1">
                      <a:lumMod val="65000"/>
                    </a:schemeClr>
                  </a:solidFill>
                </a:rPr>
                <a:t>MongoDB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bg1">
                      <a:lumMod val="65000"/>
                    </a:schemeClr>
                  </a:solidFill>
                </a:rPr>
                <a:t>Plattform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tx1"/>
                  </a:solidFill>
                </a:rPr>
                <a:t>Grafana</a:t>
              </a:r>
              <a:endParaRPr lang="de-DE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18" name="Grafik 17" descr="Server">
              <a:extLst>
                <a:ext uri="{FF2B5EF4-FFF2-40B4-BE49-F238E27FC236}">
                  <a16:creationId xmlns:a16="http://schemas.microsoft.com/office/drawing/2014/main" id="{5A1156AF-7F00-42CD-B951-C20ECFA19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7711" y="2345075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Server">
              <a:extLst>
                <a:ext uri="{FF2B5EF4-FFF2-40B4-BE49-F238E27FC236}">
                  <a16:creationId xmlns:a16="http://schemas.microsoft.com/office/drawing/2014/main" id="{CAA53FEE-CCEF-4875-B194-BCBDFF2D3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7711" y="3223909"/>
              <a:ext cx="914400" cy="914400"/>
            </a:xfrm>
            <a:prstGeom prst="rect">
              <a:avLst/>
            </a:prstGeom>
          </p:spPr>
        </p:pic>
        <p:pic>
          <p:nvPicPr>
            <p:cNvPr id="22" name="Grafik 21" descr="Server">
              <a:extLst>
                <a:ext uri="{FF2B5EF4-FFF2-40B4-BE49-F238E27FC236}">
                  <a16:creationId xmlns:a16="http://schemas.microsoft.com/office/drawing/2014/main" id="{06A8FB1F-6E4D-4929-89CA-02B0E07D9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7711" y="4102743"/>
              <a:ext cx="914400" cy="914400"/>
            </a:xfrm>
            <a:prstGeom prst="rect">
              <a:avLst/>
            </a:prstGeom>
          </p:spPr>
        </p:pic>
        <p:pic>
          <p:nvPicPr>
            <p:cNvPr id="23" name="Grafik 22" descr="Server">
              <a:extLst>
                <a:ext uri="{FF2B5EF4-FFF2-40B4-BE49-F238E27FC236}">
                  <a16:creationId xmlns:a16="http://schemas.microsoft.com/office/drawing/2014/main" id="{CFBFC56B-C465-44D9-BE68-27C883AC3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77711" y="4981578"/>
              <a:ext cx="914400" cy="914400"/>
            </a:xfrm>
            <a:prstGeom prst="rect">
              <a:avLst/>
            </a:prstGeom>
          </p:spPr>
        </p:pic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663FFBA0-0B51-4A79-B2A2-6AF194E74C0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15680" y="1971054"/>
            <a:ext cx="7478640" cy="307450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D43B5D4-5A0C-4C56-99A2-D1492B6ED7B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35426" y="3500634"/>
            <a:ext cx="5178974" cy="239534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705711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B362610-EFBF-4BB0-AC57-3EC1434BF29A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2 – Infrastruktur der Simul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06CDE2-944F-4870-B2C8-5FA58729F0BC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C816E38-EFAC-4111-AAF0-E4E1A7E7DD0D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2AB7DC-73A7-459C-8866-CFB29260F1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212023-08E6-4334-834A-A69F363E768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18909B4-5795-48F3-8EC9-F5EC2855D03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Simulation wird zurzeit auf fünf verteilten Systemen ausgeführt.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1A8408AF-1896-45A3-808F-C10A520D1A66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3786365" y="2801062"/>
            <a:ext cx="1270741" cy="0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3F13A48-7B6E-4EE0-BCE9-D1B3EEC34C66}"/>
              </a:ext>
            </a:extLst>
          </p:cNvPr>
          <p:cNvCxnSpPr>
            <a:cxnSpLocks/>
          </p:cNvCxnSpPr>
          <p:nvPr/>
        </p:nvCxnSpPr>
        <p:spPr>
          <a:xfrm>
            <a:off x="3786365" y="4879493"/>
            <a:ext cx="1270741" cy="0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CD2C745-C4DC-4554-9BE7-2C02A9EE317D}"/>
              </a:ext>
            </a:extLst>
          </p:cNvPr>
          <p:cNvGrpSpPr/>
          <p:nvPr/>
        </p:nvGrpSpPr>
        <p:grpSpPr>
          <a:xfrm>
            <a:off x="1415480" y="2039467"/>
            <a:ext cx="2370885" cy="1523190"/>
            <a:chOff x="1415480" y="2039467"/>
            <a:chExt cx="2370885" cy="1523190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43E2BBE7-18C8-41B2-AD9B-D0907281A59D}"/>
                </a:ext>
              </a:extLst>
            </p:cNvPr>
            <p:cNvGrpSpPr/>
            <p:nvPr/>
          </p:nvGrpSpPr>
          <p:grpSpPr>
            <a:xfrm>
              <a:off x="1415480" y="2039467"/>
              <a:ext cx="2370885" cy="1523190"/>
              <a:chOff x="1427637" y="2121834"/>
              <a:chExt cx="2370885" cy="1523190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935DE6A1-3437-4AB8-B530-76CC4B8D4402}"/>
                  </a:ext>
                </a:extLst>
              </p:cNvPr>
              <p:cNvSpPr/>
              <p:nvPr/>
            </p:nvSpPr>
            <p:spPr>
              <a:xfrm>
                <a:off x="1427637" y="2121834"/>
                <a:ext cx="2370885" cy="1523190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de-DE" sz="1200" b="1" dirty="0">
                    <a:solidFill>
                      <a:schemeClr val="tx1"/>
                    </a:solidFill>
                  </a:rPr>
                  <a:t>149.201.88.150</a:t>
                </a:r>
              </a:p>
              <a:p>
                <a:endParaRPr lang="de-DE" sz="1200" b="1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Nachfrage Agent 1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Nachfrage Agent 2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Nachfrage Agent …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Nachfrage Agent 99</a:t>
                </a:r>
                <a:endParaRPr lang="de-DE" sz="1400" dirty="0">
                  <a:solidFill>
                    <a:schemeClr val="tx1"/>
                  </a:solidFill>
                </a:endParaRPr>
              </a:p>
              <a:p>
                <a:pPr lvl="2"/>
                <a:endParaRPr lang="de-DE" sz="14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5" name="Picture 2" descr="Python File Icon #187775 - Free Icons Library">
                <a:extLst>
                  <a:ext uri="{FF2B5EF4-FFF2-40B4-BE49-F238E27FC236}">
                    <a16:creationId xmlns:a16="http://schemas.microsoft.com/office/drawing/2014/main" id="{D1B1BC55-27FC-4FBD-B318-926BD14B11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9905" y="3243640"/>
                <a:ext cx="360000" cy="36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" name="Grafik 7" descr="Prozessor">
              <a:extLst>
                <a:ext uri="{FF2B5EF4-FFF2-40B4-BE49-F238E27FC236}">
                  <a16:creationId xmlns:a16="http://schemas.microsoft.com/office/drawing/2014/main" id="{FE983705-DD6A-4D4C-AD26-743E14D79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76368" y="2043209"/>
              <a:ext cx="504161" cy="504161"/>
            </a:xfrm>
            <a:prstGeom prst="rect">
              <a:avLst/>
            </a:prstGeom>
          </p:spPr>
        </p:pic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A7A8C1DF-58A2-4FE2-BD25-6D14C248630C}"/>
              </a:ext>
            </a:extLst>
          </p:cNvPr>
          <p:cNvGrpSpPr/>
          <p:nvPr/>
        </p:nvGrpSpPr>
        <p:grpSpPr>
          <a:xfrm>
            <a:off x="1409643" y="4101036"/>
            <a:ext cx="2370885" cy="1523190"/>
            <a:chOff x="1415480" y="2039467"/>
            <a:chExt cx="2370885" cy="1523190"/>
          </a:xfrm>
        </p:grpSpPr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0A3C5DFF-099F-41BE-81BF-24872F0903D4}"/>
                </a:ext>
              </a:extLst>
            </p:cNvPr>
            <p:cNvGrpSpPr/>
            <p:nvPr/>
          </p:nvGrpSpPr>
          <p:grpSpPr>
            <a:xfrm>
              <a:off x="1415480" y="2039467"/>
              <a:ext cx="2370885" cy="1523190"/>
              <a:chOff x="1427637" y="2121834"/>
              <a:chExt cx="2370885" cy="1523190"/>
            </a:xfrm>
          </p:grpSpPr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4AC350F8-66AC-4E94-A270-735C019BDF30}"/>
                  </a:ext>
                </a:extLst>
              </p:cNvPr>
              <p:cNvSpPr/>
              <p:nvPr/>
            </p:nvSpPr>
            <p:spPr>
              <a:xfrm>
                <a:off x="1427637" y="2121834"/>
                <a:ext cx="2370885" cy="1523190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de-DE" sz="1200" b="1" dirty="0">
                    <a:solidFill>
                      <a:schemeClr val="tx1"/>
                    </a:solidFill>
                  </a:rPr>
                  <a:t>149.201.10.146</a:t>
                </a:r>
              </a:p>
              <a:p>
                <a:endParaRPr lang="de-DE" sz="1200" b="1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Kraftwerk Agent 1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Kraftwerk Agent 2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Kraftwerk Agent …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Kraftwerk Agent 99</a:t>
                </a:r>
                <a:endParaRPr lang="de-DE" sz="1400" dirty="0">
                  <a:solidFill>
                    <a:schemeClr val="tx1"/>
                  </a:solidFill>
                </a:endParaRPr>
              </a:p>
              <a:p>
                <a:pPr lvl="2"/>
                <a:endParaRPr lang="de-DE" sz="14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79" name="Picture 2" descr="Python File Icon #187775 - Free Icons Library">
                <a:extLst>
                  <a:ext uri="{FF2B5EF4-FFF2-40B4-BE49-F238E27FC236}">
                    <a16:creationId xmlns:a16="http://schemas.microsoft.com/office/drawing/2014/main" id="{D9B545C3-D4E8-4FB5-A402-299BF701C4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9905" y="3243640"/>
                <a:ext cx="360000" cy="36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77" name="Grafik 76" descr="Prozessor">
              <a:extLst>
                <a:ext uri="{FF2B5EF4-FFF2-40B4-BE49-F238E27FC236}">
                  <a16:creationId xmlns:a16="http://schemas.microsoft.com/office/drawing/2014/main" id="{570CBB3F-4ADE-4899-8455-D31F35E47C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76368" y="2043209"/>
              <a:ext cx="504161" cy="504161"/>
            </a:xfrm>
            <a:prstGeom prst="rect">
              <a:avLst/>
            </a:prstGeom>
          </p:spPr>
        </p:pic>
      </p:grp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8330FD29-9282-4E70-9088-B2AC5AE92410}"/>
              </a:ext>
            </a:extLst>
          </p:cNvPr>
          <p:cNvGrpSpPr/>
          <p:nvPr/>
        </p:nvGrpSpPr>
        <p:grpSpPr>
          <a:xfrm>
            <a:off x="8250907" y="2042974"/>
            <a:ext cx="2370885" cy="1206702"/>
            <a:chOff x="956100" y="-767497"/>
            <a:chExt cx="2370885" cy="1206702"/>
          </a:xfrm>
        </p:grpSpPr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F4E1BD05-A1AB-42BB-8483-C86996942415}"/>
                </a:ext>
              </a:extLst>
            </p:cNvPr>
            <p:cNvGrpSpPr/>
            <p:nvPr/>
          </p:nvGrpSpPr>
          <p:grpSpPr>
            <a:xfrm>
              <a:off x="956100" y="-767497"/>
              <a:ext cx="2370885" cy="1206702"/>
              <a:chOff x="968257" y="-685130"/>
              <a:chExt cx="2370885" cy="1206702"/>
            </a:xfrm>
          </p:grpSpPr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45A3ED26-3084-4AF3-B67C-840B9C251612}"/>
                  </a:ext>
                </a:extLst>
              </p:cNvPr>
              <p:cNvSpPr/>
              <p:nvPr/>
            </p:nvSpPr>
            <p:spPr>
              <a:xfrm>
                <a:off x="968257" y="-685130"/>
                <a:ext cx="2370885" cy="1206702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de-DE" sz="1200" b="1" dirty="0">
                    <a:solidFill>
                      <a:schemeClr val="tx1"/>
                    </a:solidFill>
                  </a:rPr>
                  <a:t>149.201.206.47</a:t>
                </a:r>
              </a:p>
              <a:p>
                <a:endParaRPr lang="de-DE" sz="1200" b="1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1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2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…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32</a:t>
                </a:r>
                <a:endParaRPr lang="de-DE" sz="1400" dirty="0">
                  <a:solidFill>
                    <a:schemeClr val="tx1"/>
                  </a:solidFill>
                </a:endParaRPr>
              </a:p>
              <a:p>
                <a:pPr lvl="2"/>
                <a:endParaRPr lang="de-DE" sz="14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84" name="Picture 2" descr="Python File Icon #187775 - Free Icons Library">
                <a:extLst>
                  <a:ext uri="{FF2B5EF4-FFF2-40B4-BE49-F238E27FC236}">
                    <a16:creationId xmlns:a16="http://schemas.microsoft.com/office/drawing/2014/main" id="{8FE592C5-C755-48E1-B111-4B04E0CB6CB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8371" y="124120"/>
                <a:ext cx="360000" cy="36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2" name="Grafik 81" descr="Prozessor">
              <a:extLst>
                <a:ext uri="{FF2B5EF4-FFF2-40B4-BE49-F238E27FC236}">
                  <a16:creationId xmlns:a16="http://schemas.microsoft.com/office/drawing/2014/main" id="{BE94290C-B4B2-4067-A5D1-B9180283E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95888" y="-767497"/>
              <a:ext cx="504161" cy="504161"/>
            </a:xfrm>
            <a:prstGeom prst="rect">
              <a:avLst/>
            </a:prstGeom>
          </p:spPr>
        </p:pic>
      </p:grp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440F5AED-3A4B-472C-BA5F-7B5FE5A75880}"/>
              </a:ext>
            </a:extLst>
          </p:cNvPr>
          <p:cNvGrpSpPr/>
          <p:nvPr/>
        </p:nvGrpSpPr>
        <p:grpSpPr>
          <a:xfrm>
            <a:off x="8237616" y="3345596"/>
            <a:ext cx="2370885" cy="1206702"/>
            <a:chOff x="956100" y="-767497"/>
            <a:chExt cx="2370885" cy="1206702"/>
          </a:xfrm>
        </p:grpSpPr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2AB935C1-7ECB-4032-BE8A-635007041B36}"/>
                </a:ext>
              </a:extLst>
            </p:cNvPr>
            <p:cNvGrpSpPr/>
            <p:nvPr/>
          </p:nvGrpSpPr>
          <p:grpSpPr>
            <a:xfrm>
              <a:off x="956100" y="-767497"/>
              <a:ext cx="2370885" cy="1206702"/>
              <a:chOff x="968257" y="-685130"/>
              <a:chExt cx="2370885" cy="1206702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B2899FA0-E701-42E3-AE9A-0CE90B65BF48}"/>
                  </a:ext>
                </a:extLst>
              </p:cNvPr>
              <p:cNvSpPr/>
              <p:nvPr/>
            </p:nvSpPr>
            <p:spPr>
              <a:xfrm>
                <a:off x="968257" y="-685130"/>
                <a:ext cx="2370885" cy="1206702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de-DE" sz="1200" b="1" dirty="0">
                    <a:solidFill>
                      <a:schemeClr val="tx1"/>
                    </a:solidFill>
                  </a:rPr>
                  <a:t>149.201.206.48</a:t>
                </a:r>
              </a:p>
              <a:p>
                <a:endParaRPr lang="de-DE" sz="1200" b="1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32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33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…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66</a:t>
                </a:r>
                <a:endParaRPr lang="de-DE" sz="1400" dirty="0">
                  <a:solidFill>
                    <a:schemeClr val="tx1"/>
                  </a:solidFill>
                </a:endParaRPr>
              </a:p>
              <a:p>
                <a:pPr lvl="2"/>
                <a:endParaRPr lang="de-DE" sz="14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89" name="Picture 2" descr="Python File Icon #187775 - Free Icons Library">
                <a:extLst>
                  <a:ext uri="{FF2B5EF4-FFF2-40B4-BE49-F238E27FC236}">
                    <a16:creationId xmlns:a16="http://schemas.microsoft.com/office/drawing/2014/main" id="{37D72AA8-0FD4-48EC-B248-E255AABA07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8371" y="124120"/>
                <a:ext cx="360000" cy="36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7" name="Grafik 86" descr="Prozessor">
              <a:extLst>
                <a:ext uri="{FF2B5EF4-FFF2-40B4-BE49-F238E27FC236}">
                  <a16:creationId xmlns:a16="http://schemas.microsoft.com/office/drawing/2014/main" id="{C28C9D19-01F5-42EB-8451-E1DDBA156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95888" y="-767497"/>
              <a:ext cx="504161" cy="504161"/>
            </a:xfrm>
            <a:prstGeom prst="rect">
              <a:avLst/>
            </a:prstGeom>
          </p:spPr>
        </p:pic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551228F4-3483-47FB-8201-36AC25E5E5F6}"/>
              </a:ext>
            </a:extLst>
          </p:cNvPr>
          <p:cNvGrpSpPr/>
          <p:nvPr/>
        </p:nvGrpSpPr>
        <p:grpSpPr>
          <a:xfrm>
            <a:off x="8237616" y="4643624"/>
            <a:ext cx="2370885" cy="1206702"/>
            <a:chOff x="956100" y="-767497"/>
            <a:chExt cx="2370885" cy="1206702"/>
          </a:xfrm>
        </p:grpSpPr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71144C83-73D4-4A59-AFF4-B2F28546D23B}"/>
                </a:ext>
              </a:extLst>
            </p:cNvPr>
            <p:cNvGrpSpPr/>
            <p:nvPr/>
          </p:nvGrpSpPr>
          <p:grpSpPr>
            <a:xfrm>
              <a:off x="956100" y="-767497"/>
              <a:ext cx="2370885" cy="1206702"/>
              <a:chOff x="968257" y="-685130"/>
              <a:chExt cx="2370885" cy="1206702"/>
            </a:xfrm>
          </p:grpSpPr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BED6F7B5-C5BC-4DAF-8A11-38233DDBB3FF}"/>
                  </a:ext>
                </a:extLst>
              </p:cNvPr>
              <p:cNvSpPr/>
              <p:nvPr/>
            </p:nvSpPr>
            <p:spPr>
              <a:xfrm>
                <a:off x="968257" y="-685130"/>
                <a:ext cx="2370885" cy="1206702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de-DE" sz="1200" b="1" dirty="0">
                    <a:solidFill>
                      <a:schemeClr val="tx1"/>
                    </a:solidFill>
                  </a:rPr>
                  <a:t>149.201.206.49</a:t>
                </a:r>
              </a:p>
              <a:p>
                <a:endParaRPr lang="de-DE" sz="1200" b="1" dirty="0">
                  <a:solidFill>
                    <a:schemeClr val="tx1"/>
                  </a:solidFill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67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68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…</a:t>
                </a: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de-DE" sz="1200" dirty="0">
                    <a:solidFill>
                      <a:schemeClr val="tx1"/>
                    </a:solidFill>
                  </a:rPr>
                  <a:t>EE Agent 99</a:t>
                </a:r>
                <a:endParaRPr lang="de-DE" sz="1400" dirty="0">
                  <a:solidFill>
                    <a:schemeClr val="tx1"/>
                  </a:solidFill>
                </a:endParaRPr>
              </a:p>
              <a:p>
                <a:pPr lvl="2"/>
                <a:endParaRPr lang="de-DE" sz="14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94" name="Picture 2" descr="Python File Icon #187775 - Free Icons Library">
                <a:extLst>
                  <a:ext uri="{FF2B5EF4-FFF2-40B4-BE49-F238E27FC236}">
                    <a16:creationId xmlns:a16="http://schemas.microsoft.com/office/drawing/2014/main" id="{2C6F8A1C-D5A7-4AA1-BE1B-59EDA01F2E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08371" y="124120"/>
                <a:ext cx="360000" cy="36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2" name="Grafik 91" descr="Prozessor">
              <a:extLst>
                <a:ext uri="{FF2B5EF4-FFF2-40B4-BE49-F238E27FC236}">
                  <a16:creationId xmlns:a16="http://schemas.microsoft.com/office/drawing/2014/main" id="{E9E55EC9-B987-4D6D-9FF8-B534948DE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95888" y="-767497"/>
              <a:ext cx="504161" cy="504161"/>
            </a:xfrm>
            <a:prstGeom prst="rect">
              <a:avLst/>
            </a:prstGeom>
          </p:spPr>
        </p:pic>
      </p:grp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261BBAA7-07B7-414C-AEAB-2A85FCB4C87C}"/>
              </a:ext>
            </a:extLst>
          </p:cNvPr>
          <p:cNvCxnSpPr>
            <a:cxnSpLocks/>
          </p:cNvCxnSpPr>
          <p:nvPr/>
        </p:nvCxnSpPr>
        <p:spPr>
          <a:xfrm>
            <a:off x="7134893" y="2636912"/>
            <a:ext cx="1116014" cy="0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FC61FACD-446B-4742-9178-F53A7AE9840A}"/>
              </a:ext>
            </a:extLst>
          </p:cNvPr>
          <p:cNvCxnSpPr>
            <a:cxnSpLocks/>
          </p:cNvCxnSpPr>
          <p:nvPr/>
        </p:nvCxnSpPr>
        <p:spPr>
          <a:xfrm>
            <a:off x="7134893" y="3947434"/>
            <a:ext cx="1102723" cy="0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079FB9F7-407B-4FF2-A8E2-049A2AE16581}"/>
              </a:ext>
            </a:extLst>
          </p:cNvPr>
          <p:cNvCxnSpPr>
            <a:cxnSpLocks/>
          </p:cNvCxnSpPr>
          <p:nvPr/>
        </p:nvCxnSpPr>
        <p:spPr>
          <a:xfrm>
            <a:off x="7134893" y="5246975"/>
            <a:ext cx="1116014" cy="0"/>
          </a:xfrm>
          <a:prstGeom prst="straightConnector1">
            <a:avLst/>
          </a:prstGeom>
          <a:ln w="28575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C829E814-DFE3-47F2-8C56-AEAC0A252D46}"/>
              </a:ext>
            </a:extLst>
          </p:cNvPr>
          <p:cNvGrpSpPr/>
          <p:nvPr/>
        </p:nvGrpSpPr>
        <p:grpSpPr>
          <a:xfrm>
            <a:off x="5057106" y="2004755"/>
            <a:ext cx="2077787" cy="4050234"/>
            <a:chOff x="561829" y="1971054"/>
            <a:chExt cx="2077787" cy="4050234"/>
          </a:xfrm>
        </p:grpSpPr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83B6549D-E78F-43B1-B5A2-E699AE5A26AA}"/>
                </a:ext>
              </a:extLst>
            </p:cNvPr>
            <p:cNvSpPr/>
            <p:nvPr/>
          </p:nvSpPr>
          <p:spPr>
            <a:xfrm>
              <a:off x="561829" y="1971054"/>
              <a:ext cx="2077787" cy="405023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149.201.88.150</a:t>
              </a: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tx1"/>
                  </a:solidFill>
                </a:rPr>
                <a:t>InfluxDB</a:t>
              </a:r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tx1"/>
                  </a:solidFill>
                </a:rPr>
                <a:t>MongoDB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tx1"/>
                  </a:solidFill>
                </a:rPr>
                <a:t>Plattform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tx1"/>
                  </a:solidFill>
                </a:rPr>
                <a:t>Grafana</a:t>
              </a:r>
              <a:endParaRPr lang="de-DE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45" name="Grafik 44" descr="Server">
              <a:extLst>
                <a:ext uri="{FF2B5EF4-FFF2-40B4-BE49-F238E27FC236}">
                  <a16:creationId xmlns:a16="http://schemas.microsoft.com/office/drawing/2014/main" id="{6720C975-F90A-4863-BFAE-379A44DC0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7711" y="2345075"/>
              <a:ext cx="914400" cy="914400"/>
            </a:xfrm>
            <a:prstGeom prst="rect">
              <a:avLst/>
            </a:prstGeom>
          </p:spPr>
        </p:pic>
        <p:pic>
          <p:nvPicPr>
            <p:cNvPr id="46" name="Grafik 45" descr="Server">
              <a:extLst>
                <a:ext uri="{FF2B5EF4-FFF2-40B4-BE49-F238E27FC236}">
                  <a16:creationId xmlns:a16="http://schemas.microsoft.com/office/drawing/2014/main" id="{781FCF2A-D575-46D8-AB71-437D6B1DCD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7711" y="3223909"/>
              <a:ext cx="914400" cy="914400"/>
            </a:xfrm>
            <a:prstGeom prst="rect">
              <a:avLst/>
            </a:prstGeom>
          </p:spPr>
        </p:pic>
        <p:pic>
          <p:nvPicPr>
            <p:cNvPr id="47" name="Grafik 46" descr="Server">
              <a:extLst>
                <a:ext uri="{FF2B5EF4-FFF2-40B4-BE49-F238E27FC236}">
                  <a16:creationId xmlns:a16="http://schemas.microsoft.com/office/drawing/2014/main" id="{8FAA6F8C-F087-4F36-8ACF-93279E9E2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77711" y="4102743"/>
              <a:ext cx="914400" cy="914400"/>
            </a:xfrm>
            <a:prstGeom prst="rect">
              <a:avLst/>
            </a:prstGeom>
          </p:spPr>
        </p:pic>
        <p:pic>
          <p:nvPicPr>
            <p:cNvPr id="48" name="Grafik 47" descr="Server">
              <a:extLst>
                <a:ext uri="{FF2B5EF4-FFF2-40B4-BE49-F238E27FC236}">
                  <a16:creationId xmlns:a16="http://schemas.microsoft.com/office/drawing/2014/main" id="{F5AC383B-39D6-41CA-A02F-A8F51D75B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77711" y="4981578"/>
              <a:ext cx="914400" cy="914400"/>
            </a:xfrm>
            <a:prstGeom prst="rect">
              <a:avLst/>
            </a:prstGeom>
          </p:spPr>
        </p:pic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4D43C12E-2C62-4E4A-B4F2-52699B92A7C8}"/>
              </a:ext>
            </a:extLst>
          </p:cNvPr>
          <p:cNvSpPr txBox="1"/>
          <p:nvPr/>
        </p:nvSpPr>
        <p:spPr>
          <a:xfrm>
            <a:off x="830563" y="2705730"/>
            <a:ext cx="430887" cy="2483408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WUM Serve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77F5B43-024F-4337-A8C4-41EAE2A8FAA3}"/>
              </a:ext>
            </a:extLst>
          </p:cNvPr>
          <p:cNvSpPr txBox="1"/>
          <p:nvPr/>
        </p:nvSpPr>
        <p:spPr>
          <a:xfrm>
            <a:off x="10771693" y="2788168"/>
            <a:ext cx="430887" cy="2483408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der Server</a:t>
            </a:r>
          </a:p>
        </p:txBody>
      </p:sp>
    </p:spTree>
    <p:extLst>
      <p:ext uri="{BB962C8B-B14F-4D97-AF65-F5344CB8AC3E}">
        <p14:creationId xmlns:p14="http://schemas.microsoft.com/office/powerpoint/2010/main" val="23608279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A0EF2D4-B115-4366-B983-801973003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96F73E-8327-4BCD-8936-5B6712100C89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8929-E241-47A7-8701-1643CB1F6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2B5741-02B3-4BE3-A5A6-C6967CA8C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2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6172D99-74C0-4615-A312-6AE4A54F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schreibung der Agenten</a:t>
            </a:r>
          </a:p>
        </p:txBody>
      </p:sp>
      <p:pic>
        <p:nvPicPr>
          <p:cNvPr id="11" name="Grafik 10" descr="Künstliche Intelligenz">
            <a:extLst>
              <a:ext uri="{FF2B5EF4-FFF2-40B4-BE49-F238E27FC236}">
                <a16:creationId xmlns:a16="http://schemas.microsoft.com/office/drawing/2014/main" id="{E34F8FD9-75EE-443A-8295-A20404DD4D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19328" y="2132856"/>
            <a:ext cx="1753344" cy="175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9244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E468905A-D4DF-4048-8791-1065CFF611A4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3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ur Simulation eines Tages werden iterativ vier Schritte pro Agent ausgeführt. Die Schritte beinhalten hauptsächlich Prognose-, Optimierung- und Vermarktungsalgorithmen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PWP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 err="1"/>
                <a:t>DayAhead</a:t>
              </a:r>
              <a:r>
                <a:rPr lang="de-DE" sz="1400" b="1" dirty="0"/>
                <a:t> Markt</a:t>
              </a:r>
            </a:p>
          </p:txBody>
        </p:sp>
        <p:pic>
          <p:nvPicPr>
            <p:cNvPr id="16" name="Grafik 15" descr="Kraftwerk">
              <a:extLst>
                <a:ext uri="{FF2B5EF4-FFF2-40B4-BE49-F238E27FC236}">
                  <a16:creationId xmlns:a16="http://schemas.microsoft.com/office/drawing/2014/main" id="{4CECD829-1903-457D-B0ED-170E52D35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252037" y="2706766"/>
              <a:ext cx="476401" cy="476401"/>
            </a:xfrm>
            <a:prstGeom prst="rect">
              <a:avLst/>
            </a:prstGeom>
          </p:spPr>
        </p:pic>
        <p:pic>
          <p:nvPicPr>
            <p:cNvPr id="28" name="Picture 2" descr="VERBUND-Pumpspeicherkraftwerke">
              <a:extLst>
                <a:ext uri="{FF2B5EF4-FFF2-40B4-BE49-F238E27FC236}">
                  <a16:creationId xmlns:a16="http://schemas.microsoft.com/office/drawing/2014/main" id="{82C6FDA5-8201-4EC2-94E9-A0EF9C678F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9063" y="3650155"/>
              <a:ext cx="510287" cy="510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Ökon. Kenngrößen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32328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pic>
          <p:nvPicPr>
            <p:cNvPr id="62" name="Grafik 61" descr="Kraftwerk">
              <a:extLst>
                <a:ext uri="{FF2B5EF4-FFF2-40B4-BE49-F238E27FC236}">
                  <a16:creationId xmlns:a16="http://schemas.microsoft.com/office/drawing/2014/main" id="{F0CE4E62-0C7A-4224-BA2E-A88671D97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57549" y="2821575"/>
              <a:ext cx="476401" cy="476401"/>
            </a:xfrm>
            <a:prstGeom prst="rect">
              <a:avLst/>
            </a:prstGeom>
          </p:spPr>
        </p:pic>
        <p:pic>
          <p:nvPicPr>
            <p:cNvPr id="64" name="Grafik 63" descr="Kraftwerk">
              <a:extLst>
                <a:ext uri="{FF2B5EF4-FFF2-40B4-BE49-F238E27FC236}">
                  <a16:creationId xmlns:a16="http://schemas.microsoft.com/office/drawing/2014/main" id="{6E4CB875-E592-4FA8-B881-5624A27F9B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89032" y="3325968"/>
              <a:ext cx="476401" cy="476401"/>
            </a:xfrm>
            <a:prstGeom prst="rect">
              <a:avLst/>
            </a:prstGeom>
          </p:spPr>
        </p:pic>
        <p:pic>
          <p:nvPicPr>
            <p:cNvPr id="66" name="Grafik 65" descr="Kraftwerk">
              <a:extLst>
                <a:ext uri="{FF2B5EF4-FFF2-40B4-BE49-F238E27FC236}">
                  <a16:creationId xmlns:a16="http://schemas.microsoft.com/office/drawing/2014/main" id="{B7495510-771B-4273-ACD3-9EB9CFB65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17652" y="4047531"/>
              <a:ext cx="476401" cy="476401"/>
            </a:xfrm>
            <a:prstGeom prst="rect">
              <a:avLst/>
            </a:prstGeom>
          </p:spPr>
        </p:pic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. &amp; ökon.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31837" y="2347737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uschläg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e Stunde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5446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erbuch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851441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pic>
        <p:nvPicPr>
          <p:cNvPr id="3" name="Picture 2" descr="VERBUND-Pumpspeicherkraftwerke">
            <a:extLst>
              <a:ext uri="{FF2B5EF4-FFF2-40B4-BE49-F238E27FC236}">
                <a16:creationId xmlns:a16="http://schemas.microsoft.com/office/drawing/2014/main" id="{FE95C9F3-6B40-42F6-8588-748822E0E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006" y="2345282"/>
            <a:ext cx="654475" cy="65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feil: 180-Grad 7">
            <a:extLst>
              <a:ext uri="{FF2B5EF4-FFF2-40B4-BE49-F238E27FC236}">
                <a16:creationId xmlns:a16="http://schemas.microsoft.com/office/drawing/2014/main" id="{3F3FCED8-A887-4AD6-9AEA-B099CBA2C49C}"/>
              </a:ext>
            </a:extLst>
          </p:cNvPr>
          <p:cNvSpPr/>
          <p:nvPr/>
        </p:nvSpPr>
        <p:spPr>
          <a:xfrm rot="16200000">
            <a:off x="3899178" y="3438713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Pfeil: 180-Grad 36">
            <a:extLst>
              <a:ext uri="{FF2B5EF4-FFF2-40B4-BE49-F238E27FC236}">
                <a16:creationId xmlns:a16="http://schemas.microsoft.com/office/drawing/2014/main" id="{F8D6DB82-3392-4105-9E42-6A34C4D68FA7}"/>
              </a:ext>
            </a:extLst>
          </p:cNvPr>
          <p:cNvSpPr/>
          <p:nvPr/>
        </p:nvSpPr>
        <p:spPr>
          <a:xfrm rot="5400000">
            <a:off x="7427570" y="3500156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11" name="Grafik 10" descr="Angebot und Nachfrage">
            <a:extLst>
              <a:ext uri="{FF2B5EF4-FFF2-40B4-BE49-F238E27FC236}">
                <a16:creationId xmlns:a16="http://schemas.microsoft.com/office/drawing/2014/main" id="{3A5BDA82-2DD6-4FA3-A2E8-5A2BD9A92D1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30524" y="3234811"/>
            <a:ext cx="1289743" cy="1289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1724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549D8A0-27D1-4ECE-9D6E-2F297C352811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4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as Wetter ist eine Eingangsgrößen der Preisprognose, hat aber keinen direkten Einfluss auf die Optimierung der Kraftwerke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Wetter</a:t>
            </a:r>
          </a:p>
          <a:p>
            <a:r>
              <a:rPr lang="de-DE" sz="1400" dirty="0" err="1"/>
              <a:t>DayAhead</a:t>
            </a:r>
            <a:r>
              <a:rPr lang="de-DE" sz="1400" dirty="0"/>
              <a:t>-Prognose für</a:t>
            </a:r>
          </a:p>
          <a:p>
            <a:pPr lvl="1"/>
            <a:r>
              <a:rPr lang="de-DE" sz="1200" dirty="0"/>
              <a:t>mittlere </a:t>
            </a:r>
            <a:r>
              <a:rPr lang="de-DE" sz="1200" b="1" dirty="0"/>
              <a:t>Windgeschwindigkeit</a:t>
            </a:r>
            <a:r>
              <a:rPr lang="de-DE" sz="1200" dirty="0"/>
              <a:t> [m/s]</a:t>
            </a:r>
          </a:p>
          <a:p>
            <a:pPr lvl="1"/>
            <a:r>
              <a:rPr lang="de-DE" sz="1200" dirty="0"/>
              <a:t>mittlere </a:t>
            </a:r>
            <a:r>
              <a:rPr lang="de-DE" sz="1200" b="1" dirty="0"/>
              <a:t>Temperatur</a:t>
            </a:r>
            <a:r>
              <a:rPr lang="de-DE" sz="1200" dirty="0"/>
              <a:t> [°C]</a:t>
            </a:r>
          </a:p>
          <a:p>
            <a:pPr lvl="1"/>
            <a:r>
              <a:rPr lang="de-DE" sz="1200" dirty="0"/>
              <a:t>mittlere </a:t>
            </a:r>
            <a:r>
              <a:rPr lang="de-DE" sz="1200" b="1" dirty="0"/>
              <a:t>Globalstrahlung</a:t>
            </a:r>
            <a:r>
              <a:rPr lang="de-DE" sz="1200" dirty="0"/>
              <a:t> [W/m²]</a:t>
            </a:r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Die Prognose wird anhand der bekannten Werte berechnet indem ein Fehlerterm addiert wird.</a:t>
            </a:r>
          </a:p>
          <a:p>
            <a:endParaRPr lang="de-DE" sz="1400" dirty="0"/>
          </a:p>
          <a:p>
            <a:r>
              <a:rPr lang="de-DE" sz="1400" dirty="0"/>
              <a:t>Die Daten basieren auf historischen Messwerten der 276 Wetterstationen.</a:t>
            </a:r>
          </a:p>
          <a:p>
            <a:pPr lvl="1"/>
            <a:r>
              <a:rPr lang="de-DE" sz="1200" dirty="0"/>
              <a:t>15 historische Wetterjahre</a:t>
            </a:r>
          </a:p>
          <a:p>
            <a:pPr lvl="1"/>
            <a:r>
              <a:rPr lang="de-DE" sz="1200" dirty="0"/>
              <a:t>Quelle: DWD</a:t>
            </a:r>
          </a:p>
          <a:p>
            <a:pPr marL="0" indent="0">
              <a:buNone/>
            </a:pPr>
            <a:endParaRPr lang="de-DE" sz="12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3" y="2489560"/>
            <a:ext cx="6432096" cy="2959547"/>
            <a:chOff x="2679111" y="2303880"/>
            <a:chExt cx="6432096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FFAA05BF-B4C6-4D0A-AFB2-09205FB4803A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EC7C5B78-D973-4C23-9FA9-A71A2C495D64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28" name="Grafik 27" descr="Kraftwerk">
                <a:extLst>
                  <a:ext uri="{FF2B5EF4-FFF2-40B4-BE49-F238E27FC236}">
                    <a16:creationId xmlns:a16="http://schemas.microsoft.com/office/drawing/2014/main" id="{BE2F034F-4804-4BCC-8E9A-0D4C314322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76014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01135A36-CEE8-41F7-A946-5F0F087FCBAD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5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Stromnachfrage ist eine weitere Eingangsgröße der Preisprognose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Stromnachfrage</a:t>
            </a:r>
          </a:p>
          <a:p>
            <a:r>
              <a:rPr lang="de-DE" sz="1400" dirty="0" err="1"/>
              <a:t>DayAhead</a:t>
            </a:r>
            <a:r>
              <a:rPr lang="de-DE" sz="1400" dirty="0"/>
              <a:t>-Prognose für die gesamte Stromnachfrage in Deutschland.</a:t>
            </a:r>
          </a:p>
          <a:p>
            <a:endParaRPr lang="de-DE" sz="1400" dirty="0"/>
          </a:p>
          <a:p>
            <a:r>
              <a:rPr lang="de-DE" sz="1400" dirty="0"/>
              <a:t>Basiert auf dem </a:t>
            </a:r>
            <a:r>
              <a:rPr lang="de-DE" sz="1400" b="1" dirty="0"/>
              <a:t>Typtageverfahren</a:t>
            </a:r>
            <a:endParaRPr lang="de-DE" sz="1400" dirty="0"/>
          </a:p>
          <a:p>
            <a:pPr lvl="1"/>
            <a:r>
              <a:rPr lang="de-DE" sz="1200" dirty="0"/>
              <a:t>Unterscheidung der Wochentage</a:t>
            </a:r>
          </a:p>
          <a:p>
            <a:pPr lvl="1"/>
            <a:r>
              <a:rPr lang="de-DE" sz="1200" dirty="0"/>
              <a:t>Keine Berücksichtigung von Feiertagen usw.</a:t>
            </a:r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Zu Beginn der Simulation liegen bereits typische Tage vor</a:t>
            </a:r>
          </a:p>
          <a:p>
            <a:pPr lvl="1"/>
            <a:r>
              <a:rPr lang="de-DE" sz="1200" dirty="0"/>
              <a:t>Fit anhand der Stromnachfrage für die Jahre 2018 und 2019.</a:t>
            </a:r>
          </a:p>
          <a:p>
            <a:pPr lvl="1"/>
            <a:r>
              <a:rPr lang="de-DE" sz="1200" dirty="0"/>
              <a:t>Quelle: ENTSO-E</a:t>
            </a:r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F9052CC-BF1F-4167-9D7D-32353CF391D0}"/>
              </a:ext>
            </a:extLst>
          </p:cNvPr>
          <p:cNvGrpSpPr/>
          <p:nvPr/>
        </p:nvGrpSpPr>
        <p:grpSpPr>
          <a:xfrm>
            <a:off x="525283" y="2489560"/>
            <a:ext cx="6432096" cy="2959547"/>
            <a:chOff x="2679111" y="2303880"/>
            <a:chExt cx="6432096" cy="295954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14DE60F0-A547-4E42-BCFF-45C770415CF1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CA0E960C-08B5-41EE-8ECB-685F66C6B212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87B68AE-F5DA-4B73-B8CC-F89D4C047A49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86DAD498-BF6C-48E3-A69F-9E38E1B29ED1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32" name="Grafik 31" descr="Kraftwerk">
                <a:extLst>
                  <a:ext uri="{FF2B5EF4-FFF2-40B4-BE49-F238E27FC236}">
                    <a16:creationId xmlns:a16="http://schemas.microsoft.com/office/drawing/2014/main" id="{9C9C815A-202A-4F7D-8EC8-9B87731D97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29" name="Pfeil: nach oben 28">
              <a:extLst>
                <a:ext uri="{FF2B5EF4-FFF2-40B4-BE49-F238E27FC236}">
                  <a16:creationId xmlns:a16="http://schemas.microsoft.com/office/drawing/2014/main" id="{17475FF4-98E4-4ADB-83BE-AEC214648D97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Pfeil: nach oben 29">
              <a:extLst>
                <a:ext uri="{FF2B5EF4-FFF2-40B4-BE49-F238E27FC236}">
                  <a16:creationId xmlns:a16="http://schemas.microsoft.com/office/drawing/2014/main" id="{2E514618-64CE-4D14-910C-E305E8C4E698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671114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B7962B9D-584C-4C57-B5BD-EA3902AD87FC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6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ur Modellierung der </a:t>
            </a:r>
            <a:r>
              <a:rPr lang="de-DE" dirty="0" err="1"/>
              <a:t>DayAhead</a:t>
            </a:r>
            <a:r>
              <a:rPr lang="de-DE" dirty="0"/>
              <a:t> Preise wird ein Neuronales Netz verwendet, welches während der Simulation iterativ dazu lern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Preisinformation</a:t>
            </a:r>
          </a:p>
          <a:p>
            <a:r>
              <a:rPr lang="de-DE" sz="1400" dirty="0"/>
              <a:t>Die Preisinformation setzt sich aus mehreren Bestandteilen zusammen:</a:t>
            </a:r>
          </a:p>
          <a:p>
            <a:pPr lvl="1"/>
            <a:r>
              <a:rPr lang="de-DE" sz="1200" dirty="0"/>
              <a:t>CO2-Emissionspreis 	     (konstant)</a:t>
            </a:r>
          </a:p>
          <a:p>
            <a:pPr lvl="1"/>
            <a:r>
              <a:rPr lang="de-DE" sz="1200" dirty="0"/>
              <a:t>Brennstoffpreis	     (konstant)</a:t>
            </a:r>
          </a:p>
          <a:p>
            <a:pPr lvl="1"/>
            <a:r>
              <a:rPr lang="de-DE" sz="1200" dirty="0" err="1"/>
              <a:t>DayAhead</a:t>
            </a:r>
            <a:r>
              <a:rPr lang="de-DE" sz="1200" dirty="0"/>
              <a:t>-Preis Prognose</a:t>
            </a:r>
          </a:p>
          <a:p>
            <a:r>
              <a:rPr lang="de-DE" sz="1400" dirty="0" err="1"/>
              <a:t>DayAhead</a:t>
            </a:r>
            <a:r>
              <a:rPr lang="de-DE" sz="1400" dirty="0"/>
              <a:t>-Preis Prognose:</a:t>
            </a:r>
          </a:p>
          <a:p>
            <a:endParaRPr lang="de-DE" sz="1400" dirty="0"/>
          </a:p>
          <a:p>
            <a:pPr marL="0" indent="0">
              <a:buNone/>
            </a:pPr>
            <a:endParaRPr lang="de-DE" sz="1400" dirty="0"/>
          </a:p>
        </p:txBody>
      </p:sp>
      <p:pic>
        <p:nvPicPr>
          <p:cNvPr id="58372" name="Picture 4" descr="Image for post">
            <a:extLst>
              <a:ext uri="{FF2B5EF4-FFF2-40B4-BE49-F238E27FC236}">
                <a16:creationId xmlns:a16="http://schemas.microsoft.com/office/drawing/2014/main" id="{076F5F43-AA75-46C5-956B-CF1CB85AD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4142648"/>
            <a:ext cx="3684210" cy="1807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AF0A3B4-6C1F-4008-B66D-23E649261BC7}"/>
              </a:ext>
            </a:extLst>
          </p:cNvPr>
          <p:cNvGrpSpPr/>
          <p:nvPr/>
        </p:nvGrpSpPr>
        <p:grpSpPr>
          <a:xfrm>
            <a:off x="525283" y="2489560"/>
            <a:ext cx="6432096" cy="2959547"/>
            <a:chOff x="2679111" y="2303880"/>
            <a:chExt cx="6432096" cy="295954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B8C91E7E-C043-4C11-A6BB-6DE759DE2036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2554CD25-8F09-40AD-AA3C-FC6993617502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E7C87F78-73F2-4A03-A26A-E6005A103376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630DA80E-B4A2-4D8F-9468-5A75488B5133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32" name="Grafik 31" descr="Kraftwerk">
                <a:extLst>
                  <a:ext uri="{FF2B5EF4-FFF2-40B4-BE49-F238E27FC236}">
                    <a16:creationId xmlns:a16="http://schemas.microsoft.com/office/drawing/2014/main" id="{92920845-F05C-4B59-A721-171DE2D544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29" name="Pfeil: nach oben 28">
              <a:extLst>
                <a:ext uri="{FF2B5EF4-FFF2-40B4-BE49-F238E27FC236}">
                  <a16:creationId xmlns:a16="http://schemas.microsoft.com/office/drawing/2014/main" id="{279E2B43-4460-4078-A034-8B629C67026C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Pfeil: nach oben 29">
              <a:extLst>
                <a:ext uri="{FF2B5EF4-FFF2-40B4-BE49-F238E27FC236}">
                  <a16:creationId xmlns:a16="http://schemas.microsoft.com/office/drawing/2014/main" id="{60CD7FC9-06DF-40FB-A765-96F35FABCD4A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6641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4B4EA558-2308-4903-A2FF-28B85872C28A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7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eben der Stromnachfrage und dem Wetter werden ebenfalls historische Preisinformationen sowie Dummy-Variablen für Feiertage berücksichtig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Preisinformation</a:t>
            </a:r>
          </a:p>
          <a:p>
            <a:r>
              <a:rPr lang="de-DE" sz="1400" dirty="0"/>
              <a:t>Die Preisinformation setzt sich aus mehreren Bestandteilen zusammen:</a:t>
            </a:r>
          </a:p>
          <a:p>
            <a:pPr lvl="1"/>
            <a:r>
              <a:rPr lang="de-DE" sz="1200" dirty="0"/>
              <a:t>Co2-Emissionspreis 	     (konstant)</a:t>
            </a:r>
          </a:p>
          <a:p>
            <a:pPr lvl="1"/>
            <a:r>
              <a:rPr lang="de-DE" sz="1200" dirty="0"/>
              <a:t>Brennstoffpreis	     (konstant)</a:t>
            </a:r>
          </a:p>
          <a:p>
            <a:pPr lvl="1"/>
            <a:r>
              <a:rPr lang="de-DE" sz="1200" dirty="0" err="1"/>
              <a:t>DayAhead</a:t>
            </a:r>
            <a:r>
              <a:rPr lang="de-DE" sz="1200" dirty="0"/>
              <a:t>-Preis Prognose</a:t>
            </a:r>
          </a:p>
          <a:p>
            <a:r>
              <a:rPr lang="de-DE" sz="1400" dirty="0" err="1"/>
              <a:t>DayAhead</a:t>
            </a:r>
            <a:r>
              <a:rPr lang="de-DE" sz="1400" dirty="0"/>
              <a:t>-Preis Prognose:</a:t>
            </a:r>
          </a:p>
          <a:p>
            <a:pPr lvl="2"/>
            <a:r>
              <a:rPr lang="de-DE" dirty="0"/>
              <a:t>Nachfrage</a:t>
            </a:r>
          </a:p>
          <a:p>
            <a:pPr lvl="2"/>
            <a:r>
              <a:rPr lang="de-DE" dirty="0"/>
              <a:t>Windgeschwindigkeit</a:t>
            </a:r>
          </a:p>
          <a:p>
            <a:pPr lvl="2"/>
            <a:r>
              <a:rPr lang="de-DE" dirty="0"/>
              <a:t>Globalstrahlung</a:t>
            </a:r>
          </a:p>
          <a:p>
            <a:pPr lvl="2"/>
            <a:r>
              <a:rPr lang="de-DE" dirty="0"/>
              <a:t>Temperatur</a:t>
            </a:r>
          </a:p>
          <a:p>
            <a:pPr lvl="2"/>
            <a:r>
              <a:rPr lang="de-DE" dirty="0"/>
              <a:t>Preise gestern &amp; vor einer Woche</a:t>
            </a:r>
          </a:p>
          <a:p>
            <a:pPr lvl="2"/>
            <a:r>
              <a:rPr lang="de-DE" dirty="0"/>
              <a:t>Dummies für Feiertage usw.</a:t>
            </a:r>
          </a:p>
          <a:p>
            <a:pPr marL="0" indent="0">
              <a:buNone/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F2ECF95-3AA0-49F7-8053-E2ED30870431}"/>
              </a:ext>
            </a:extLst>
          </p:cNvPr>
          <p:cNvSpPr/>
          <p:nvPr/>
        </p:nvSpPr>
        <p:spPr>
          <a:xfrm>
            <a:off x="7176123" y="4089998"/>
            <a:ext cx="360040" cy="16499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Input Layer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B4A794E-F0F1-4A47-8AC3-176A84A546E0}"/>
              </a:ext>
            </a:extLst>
          </p:cNvPr>
          <p:cNvGrpSpPr/>
          <p:nvPr/>
        </p:nvGrpSpPr>
        <p:grpSpPr>
          <a:xfrm>
            <a:off x="525283" y="2489560"/>
            <a:ext cx="6432096" cy="2959547"/>
            <a:chOff x="2679111" y="2303880"/>
            <a:chExt cx="6432096" cy="295954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97A7057C-9CDB-45A7-90FE-FEBC9FEDCACB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6A86C764-4D1D-4209-8F3C-6FDDCD2E60B4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C89A262-7C13-41E7-8650-6EE5F5BC2F6F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F7AEBABF-590A-48AE-B471-ADF3FDF5A951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32" name="Grafik 31" descr="Kraftwerk">
                <a:extLst>
                  <a:ext uri="{FF2B5EF4-FFF2-40B4-BE49-F238E27FC236}">
                    <a16:creationId xmlns:a16="http://schemas.microsoft.com/office/drawing/2014/main" id="{7C9AE4AA-62BE-410B-93D9-D6EDDA1D1D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29" name="Pfeil: nach oben 28">
              <a:extLst>
                <a:ext uri="{FF2B5EF4-FFF2-40B4-BE49-F238E27FC236}">
                  <a16:creationId xmlns:a16="http://schemas.microsoft.com/office/drawing/2014/main" id="{0A8F5EE6-F1F1-4E27-A141-C86C67966873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Pfeil: nach oben 29">
              <a:extLst>
                <a:ext uri="{FF2B5EF4-FFF2-40B4-BE49-F238E27FC236}">
                  <a16:creationId xmlns:a16="http://schemas.microsoft.com/office/drawing/2014/main" id="{57C950DB-DBCD-4D5B-8269-984A762C289C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0949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17D4EB2-FFD5-4158-8838-BF17435586CB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8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Um eine vertretbare Simulationsdauer zur erreichen, wird eine möglichst kleine Netzstruktur gewähl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Preisinformation</a:t>
            </a:r>
          </a:p>
          <a:p>
            <a:r>
              <a:rPr lang="de-DE" sz="1400" dirty="0"/>
              <a:t>Die Preisinformation setzt sich aus mehreren Bestandteilen zusammen:</a:t>
            </a:r>
          </a:p>
          <a:p>
            <a:pPr lvl="1"/>
            <a:r>
              <a:rPr lang="de-DE" sz="1200" dirty="0"/>
              <a:t>Co2-Emissionspreis 	     (konstant)</a:t>
            </a:r>
          </a:p>
          <a:p>
            <a:pPr lvl="1"/>
            <a:r>
              <a:rPr lang="de-DE" sz="1200" dirty="0"/>
              <a:t>Brennstoffpreis	     (konstant)</a:t>
            </a:r>
          </a:p>
          <a:p>
            <a:pPr lvl="1"/>
            <a:r>
              <a:rPr lang="de-DE" sz="1200" dirty="0" err="1"/>
              <a:t>DayAhead</a:t>
            </a:r>
            <a:r>
              <a:rPr lang="de-DE" sz="1200" dirty="0"/>
              <a:t>-Preis Prognose</a:t>
            </a:r>
          </a:p>
          <a:p>
            <a:r>
              <a:rPr lang="de-DE" sz="1400" dirty="0" err="1"/>
              <a:t>DayAhead</a:t>
            </a:r>
            <a:r>
              <a:rPr lang="de-DE" sz="1400" dirty="0"/>
              <a:t>-Preis Prognose:</a:t>
            </a:r>
          </a:p>
          <a:p>
            <a:pPr lvl="2"/>
            <a:r>
              <a:rPr lang="de-DE" dirty="0"/>
              <a:t>zwei </a:t>
            </a:r>
            <a:r>
              <a:rPr lang="de-DE" dirty="0" err="1"/>
              <a:t>hidden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 mit 15 Neuronen</a:t>
            </a:r>
          </a:p>
          <a:p>
            <a:pPr lvl="2"/>
            <a:r>
              <a:rPr lang="de-DE" dirty="0"/>
              <a:t>Übertragungsfunktion entspricht Identity</a:t>
            </a:r>
          </a:p>
          <a:p>
            <a:pPr marL="914400" lvl="2" indent="0">
              <a:buNone/>
            </a:pPr>
            <a:endParaRPr lang="de-DE" dirty="0"/>
          </a:p>
          <a:p>
            <a:pPr lvl="2"/>
            <a:r>
              <a:rPr lang="de-DE" dirty="0"/>
              <a:t>Training auf historischen Daten </a:t>
            </a:r>
            <a:br>
              <a:rPr lang="de-DE" dirty="0"/>
            </a:br>
            <a:r>
              <a:rPr lang="de-DE" dirty="0"/>
              <a:t> R² = [0.75, 0.85]</a:t>
            </a:r>
          </a:p>
          <a:p>
            <a:pPr lvl="2"/>
            <a:r>
              <a:rPr lang="de-DE" dirty="0"/>
              <a:t>Ende der Simulation</a:t>
            </a:r>
            <a:br>
              <a:rPr lang="de-DE" dirty="0"/>
            </a:br>
            <a:r>
              <a:rPr lang="de-DE" dirty="0"/>
              <a:t>R² = [0.90, 0.98]</a:t>
            </a:r>
          </a:p>
          <a:p>
            <a:pPr marL="0" indent="0">
              <a:buNone/>
            </a:pPr>
            <a:endParaRPr lang="de-DE" sz="14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F2ECF95-3AA0-49F7-8053-E2ED30870431}"/>
              </a:ext>
            </a:extLst>
          </p:cNvPr>
          <p:cNvSpPr/>
          <p:nvPr/>
        </p:nvSpPr>
        <p:spPr>
          <a:xfrm>
            <a:off x="7212332" y="4089998"/>
            <a:ext cx="360040" cy="87859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Aufbau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B73FD6B-AA97-414A-90EB-9296124932FD}"/>
              </a:ext>
            </a:extLst>
          </p:cNvPr>
          <p:cNvSpPr/>
          <p:nvPr/>
        </p:nvSpPr>
        <p:spPr>
          <a:xfrm>
            <a:off x="7212332" y="5032675"/>
            <a:ext cx="360040" cy="87859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Ergebnis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0517C69-5510-4540-B716-4C5FD038C17F}"/>
              </a:ext>
            </a:extLst>
          </p:cNvPr>
          <p:cNvGrpSpPr/>
          <p:nvPr/>
        </p:nvGrpSpPr>
        <p:grpSpPr>
          <a:xfrm>
            <a:off x="525283" y="2489560"/>
            <a:ext cx="6432096" cy="2959547"/>
            <a:chOff x="2679111" y="2303880"/>
            <a:chExt cx="6432096" cy="2959547"/>
          </a:xfrm>
        </p:grpSpPr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5A7D34F3-5DE5-4AA6-AB57-AC1F98A42F9A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51B40AD1-720C-42A3-9051-F37D51513372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6A520A84-33FD-420E-8A96-B651C76B46E4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6C9D4713-B713-48C6-A24F-4F3DFD63D08F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33" name="Grafik 32" descr="Kraftwerk">
                <a:extLst>
                  <a:ext uri="{FF2B5EF4-FFF2-40B4-BE49-F238E27FC236}">
                    <a16:creationId xmlns:a16="http://schemas.microsoft.com/office/drawing/2014/main" id="{B7A5FD27-DBDE-484F-AAA5-B2AD912EF6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30" name="Pfeil: nach oben 29">
              <a:extLst>
                <a:ext uri="{FF2B5EF4-FFF2-40B4-BE49-F238E27FC236}">
                  <a16:creationId xmlns:a16="http://schemas.microsoft.com/office/drawing/2014/main" id="{2F474874-42F3-4994-B587-37ED2115B6A8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Pfeil: nach oben 30">
              <a:extLst>
                <a:ext uri="{FF2B5EF4-FFF2-40B4-BE49-F238E27FC236}">
                  <a16:creationId xmlns:a16="http://schemas.microsoft.com/office/drawing/2014/main" id="{CA1D9D3C-C550-40F8-82CD-E2D17893DFF9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941807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94EF1F6-9086-4CC7-BECD-AD88128782BF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19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ur Modellierung der konventionellen Kraftwerke werden für verschiedene Brennstoffe Klassen abgeleitet, die die Flexibilität der Kraftwerke in Abhängigkeit ihrer Baujahre abbilden. 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r>
              <a:rPr lang="de-DE" sz="1400" dirty="0"/>
              <a:t>Einteilung der Kraftwerksdaten in typische Altersgruppen mit definierten Größen.</a:t>
            </a:r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457200" lvl="1" indent="0">
              <a:buNone/>
            </a:pPr>
            <a:endParaRPr lang="de-DE" sz="1050" dirty="0"/>
          </a:p>
          <a:p>
            <a:pPr marL="0" indent="0">
              <a:buNone/>
            </a:pPr>
            <a:endParaRPr lang="de-DE" sz="1300" dirty="0"/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A0DB09CE-799B-445D-A13B-8C5F787015A6}"/>
              </a:ext>
            </a:extLst>
          </p:cNvPr>
          <p:cNvGrpSpPr/>
          <p:nvPr/>
        </p:nvGrpSpPr>
        <p:grpSpPr>
          <a:xfrm>
            <a:off x="7107407" y="2999835"/>
            <a:ext cx="3726784" cy="2617989"/>
            <a:chOff x="7194925" y="3012009"/>
            <a:chExt cx="3030466" cy="2128840"/>
          </a:xfrm>
        </p:grpSpPr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E1031AEF-2F8C-4063-9B2C-01B32E293FA7}"/>
                </a:ext>
              </a:extLst>
            </p:cNvPr>
            <p:cNvGrpSpPr/>
            <p:nvPr/>
          </p:nvGrpSpPr>
          <p:grpSpPr>
            <a:xfrm>
              <a:off x="7194925" y="3012009"/>
              <a:ext cx="829676" cy="1037396"/>
              <a:chOff x="7194925" y="3130723"/>
              <a:chExt cx="829676" cy="1037396"/>
            </a:xfrm>
          </p:grpSpPr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08908CA0-1A5E-464C-A64F-2B0E00A53242}"/>
                  </a:ext>
                </a:extLst>
              </p:cNvPr>
              <p:cNvSpPr/>
              <p:nvPr/>
            </p:nvSpPr>
            <p:spPr>
              <a:xfrm>
                <a:off x="7249723" y="3322064"/>
                <a:ext cx="720080" cy="846055"/>
              </a:xfrm>
              <a:prstGeom prst="rect">
                <a:avLst/>
              </a:prstGeom>
              <a:noFill/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400" dirty="0"/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9FEBF698-4024-4DA1-8785-2584CF93E7CB}"/>
                  </a:ext>
                </a:extLst>
              </p:cNvPr>
              <p:cNvSpPr/>
              <p:nvPr/>
            </p:nvSpPr>
            <p:spPr>
              <a:xfrm>
                <a:off x="7347513" y="3393649"/>
                <a:ext cx="524500" cy="188043"/>
              </a:xfrm>
              <a:prstGeom prst="rect">
                <a:avLst/>
              </a:prstGeom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1</a:t>
                </a: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E1F4FE3A-DED4-4184-80DF-8B02F51B27F8}"/>
                  </a:ext>
                </a:extLst>
              </p:cNvPr>
              <p:cNvSpPr/>
              <p:nvPr/>
            </p:nvSpPr>
            <p:spPr>
              <a:xfrm>
                <a:off x="7347513" y="3644563"/>
                <a:ext cx="524500" cy="18804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2</a:t>
                </a: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DA7A886F-E8B7-421E-82D5-F67B636A5ADE}"/>
                  </a:ext>
                </a:extLst>
              </p:cNvPr>
              <p:cNvSpPr/>
              <p:nvPr/>
            </p:nvSpPr>
            <p:spPr>
              <a:xfrm>
                <a:off x="7347513" y="3918405"/>
                <a:ext cx="524500" cy="18804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3</a:t>
                </a:r>
              </a:p>
            </p:txBody>
          </p:sp>
          <p:sp>
            <p:nvSpPr>
              <p:cNvPr id="63" name="Textfeld 62">
                <a:extLst>
                  <a:ext uri="{FF2B5EF4-FFF2-40B4-BE49-F238E27FC236}">
                    <a16:creationId xmlns:a16="http://schemas.microsoft.com/office/drawing/2014/main" id="{7734A0CD-34C5-4291-84DC-07BB94BFA259}"/>
                  </a:ext>
                </a:extLst>
              </p:cNvPr>
              <p:cNvSpPr txBox="1"/>
              <p:nvPr/>
            </p:nvSpPr>
            <p:spPr>
              <a:xfrm>
                <a:off x="7194925" y="3130723"/>
                <a:ext cx="829676" cy="18770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einkohle</a:t>
                </a:r>
              </a:p>
            </p:txBody>
          </p:sp>
        </p:grp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ED2B005E-A332-492D-8827-104C3D4340A5}"/>
                </a:ext>
              </a:extLst>
            </p:cNvPr>
            <p:cNvGrpSpPr/>
            <p:nvPr/>
          </p:nvGrpSpPr>
          <p:grpSpPr>
            <a:xfrm>
              <a:off x="7198259" y="4103453"/>
              <a:ext cx="829676" cy="1037396"/>
              <a:chOff x="6424976" y="4222167"/>
              <a:chExt cx="829676" cy="1037396"/>
            </a:xfrm>
          </p:grpSpPr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B04BD0CB-34D7-4953-AFEE-C3E3413BA9AB}"/>
                  </a:ext>
                </a:extLst>
              </p:cNvPr>
              <p:cNvSpPr/>
              <p:nvPr/>
            </p:nvSpPr>
            <p:spPr>
              <a:xfrm>
                <a:off x="6479774" y="4413508"/>
                <a:ext cx="720080" cy="846055"/>
              </a:xfrm>
              <a:prstGeom prst="rect">
                <a:avLst/>
              </a:prstGeom>
              <a:noFill/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400"/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F88151B0-3E8B-4163-9844-3B06F4B51B37}"/>
                  </a:ext>
                </a:extLst>
              </p:cNvPr>
              <p:cNvSpPr/>
              <p:nvPr/>
            </p:nvSpPr>
            <p:spPr>
              <a:xfrm>
                <a:off x="6577564" y="4485093"/>
                <a:ext cx="524500" cy="188043"/>
              </a:xfrm>
              <a:prstGeom prst="rect">
                <a:avLst/>
              </a:prstGeom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1</a:t>
                </a:r>
              </a:p>
            </p:txBody>
          </p:sp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A9283BD1-B242-410D-BD5D-50B424CB6307}"/>
                  </a:ext>
                </a:extLst>
              </p:cNvPr>
              <p:cNvSpPr/>
              <p:nvPr/>
            </p:nvSpPr>
            <p:spPr>
              <a:xfrm>
                <a:off x="6577564" y="4736007"/>
                <a:ext cx="524500" cy="18804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2</a:t>
                </a: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5659E804-86B7-441E-BB82-B9E5B6EA4A52}"/>
                  </a:ext>
                </a:extLst>
              </p:cNvPr>
              <p:cNvSpPr/>
              <p:nvPr/>
            </p:nvSpPr>
            <p:spPr>
              <a:xfrm>
                <a:off x="6577564" y="5009849"/>
                <a:ext cx="524500" cy="18804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3</a:t>
                </a:r>
              </a:p>
            </p:txBody>
          </p:sp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9BC8848E-A133-4B54-A361-95A76D38E20F}"/>
                  </a:ext>
                </a:extLst>
              </p:cNvPr>
              <p:cNvSpPr txBox="1"/>
              <p:nvPr/>
            </p:nvSpPr>
            <p:spPr>
              <a:xfrm>
                <a:off x="6424976" y="4222167"/>
                <a:ext cx="829676" cy="18770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raunkohle</a:t>
                </a:r>
              </a:p>
            </p:txBody>
          </p:sp>
        </p:grp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701CF160-C79D-4F39-98E5-AB122204C232}"/>
                </a:ext>
              </a:extLst>
            </p:cNvPr>
            <p:cNvGrpSpPr/>
            <p:nvPr/>
          </p:nvGrpSpPr>
          <p:grpSpPr>
            <a:xfrm>
              <a:off x="8267921" y="3012009"/>
              <a:ext cx="829676" cy="1037396"/>
              <a:chOff x="6715250" y="3130723"/>
              <a:chExt cx="829676" cy="1037396"/>
            </a:xfrm>
          </p:grpSpPr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0CCD6F14-0F1C-4ACB-ADC2-09F47AA805D4}"/>
                  </a:ext>
                </a:extLst>
              </p:cNvPr>
              <p:cNvSpPr/>
              <p:nvPr/>
            </p:nvSpPr>
            <p:spPr>
              <a:xfrm>
                <a:off x="6770048" y="3322064"/>
                <a:ext cx="720080" cy="846055"/>
              </a:xfrm>
              <a:prstGeom prst="rect">
                <a:avLst/>
              </a:prstGeom>
              <a:noFill/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400"/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B269B3A9-79B9-49E1-8A0D-DC20C8D3BB99}"/>
                  </a:ext>
                </a:extLst>
              </p:cNvPr>
              <p:cNvSpPr/>
              <p:nvPr/>
            </p:nvSpPr>
            <p:spPr>
              <a:xfrm>
                <a:off x="6867838" y="3393649"/>
                <a:ext cx="524500" cy="188043"/>
              </a:xfrm>
              <a:prstGeom prst="rect">
                <a:avLst/>
              </a:prstGeom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1</a:t>
                </a: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6BCFE761-C2D3-41C0-85F6-B0568CC66599}"/>
                  </a:ext>
                </a:extLst>
              </p:cNvPr>
              <p:cNvSpPr/>
              <p:nvPr/>
            </p:nvSpPr>
            <p:spPr>
              <a:xfrm>
                <a:off x="6867838" y="3644563"/>
                <a:ext cx="524500" cy="18804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2</a:t>
                </a: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49CE2E2B-7B08-40B7-BE85-B8BD9781264C}"/>
                  </a:ext>
                </a:extLst>
              </p:cNvPr>
              <p:cNvSpPr/>
              <p:nvPr/>
            </p:nvSpPr>
            <p:spPr>
              <a:xfrm>
                <a:off x="6867838" y="3918405"/>
                <a:ext cx="524500" cy="18804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3</a:t>
                </a:r>
              </a:p>
            </p:txBody>
          </p:sp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C8AC9F55-1AD5-4530-86E1-BD5CCB3294A9}"/>
                  </a:ext>
                </a:extLst>
              </p:cNvPr>
              <p:cNvSpPr txBox="1"/>
              <p:nvPr/>
            </p:nvSpPr>
            <p:spPr>
              <a:xfrm>
                <a:off x="6715250" y="3130723"/>
                <a:ext cx="829676" cy="18770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Erdgas</a:t>
                </a:r>
              </a:p>
            </p:txBody>
          </p:sp>
        </p:grp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B376D8E6-7D0F-4A1C-A12A-1A627FAE52FD}"/>
                </a:ext>
              </a:extLst>
            </p:cNvPr>
            <p:cNvGrpSpPr/>
            <p:nvPr/>
          </p:nvGrpSpPr>
          <p:grpSpPr>
            <a:xfrm>
              <a:off x="9395715" y="3012009"/>
              <a:ext cx="829676" cy="1037396"/>
              <a:chOff x="7069494" y="3130723"/>
              <a:chExt cx="829676" cy="1037396"/>
            </a:xfrm>
          </p:grpSpPr>
          <p:sp>
            <p:nvSpPr>
              <p:cNvPr id="82" name="Rechteck 81">
                <a:extLst>
                  <a:ext uri="{FF2B5EF4-FFF2-40B4-BE49-F238E27FC236}">
                    <a16:creationId xmlns:a16="http://schemas.microsoft.com/office/drawing/2014/main" id="{EA6CEF68-0A3D-4528-AB0D-D94EDF607BDC}"/>
                  </a:ext>
                </a:extLst>
              </p:cNvPr>
              <p:cNvSpPr/>
              <p:nvPr/>
            </p:nvSpPr>
            <p:spPr>
              <a:xfrm>
                <a:off x="7124292" y="3322064"/>
                <a:ext cx="720080" cy="846055"/>
              </a:xfrm>
              <a:prstGeom prst="rect">
                <a:avLst/>
              </a:prstGeom>
              <a:noFill/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400" dirty="0"/>
              </a:p>
            </p:txBody>
          </p:sp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18CFBB52-6ABB-4D97-900C-6449B0CB48DA}"/>
                  </a:ext>
                </a:extLst>
              </p:cNvPr>
              <p:cNvSpPr/>
              <p:nvPr/>
            </p:nvSpPr>
            <p:spPr>
              <a:xfrm>
                <a:off x="7222082" y="3393649"/>
                <a:ext cx="524500" cy="188043"/>
              </a:xfrm>
              <a:prstGeom prst="rect">
                <a:avLst/>
              </a:prstGeom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1</a:t>
                </a:r>
              </a:p>
            </p:txBody>
          </p:sp>
          <p:sp>
            <p:nvSpPr>
              <p:cNvPr id="84" name="Rechteck 83">
                <a:extLst>
                  <a:ext uri="{FF2B5EF4-FFF2-40B4-BE49-F238E27FC236}">
                    <a16:creationId xmlns:a16="http://schemas.microsoft.com/office/drawing/2014/main" id="{3A96F73F-1ECF-4606-8309-8C4FACF412CA}"/>
                  </a:ext>
                </a:extLst>
              </p:cNvPr>
              <p:cNvSpPr/>
              <p:nvPr/>
            </p:nvSpPr>
            <p:spPr>
              <a:xfrm>
                <a:off x="7222082" y="3644563"/>
                <a:ext cx="524500" cy="18804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2</a:t>
                </a:r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6FE0A00B-3DE1-4229-8270-1219CFC81CC4}"/>
                  </a:ext>
                </a:extLst>
              </p:cNvPr>
              <p:cNvSpPr/>
              <p:nvPr/>
            </p:nvSpPr>
            <p:spPr>
              <a:xfrm>
                <a:off x="7222082" y="3918405"/>
                <a:ext cx="524500" cy="18804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3</a:t>
                </a:r>
              </a:p>
            </p:txBody>
          </p: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021EB1BB-AA35-40E0-AE03-F7877E1D8FF2}"/>
                  </a:ext>
                </a:extLst>
              </p:cNvPr>
              <p:cNvSpPr txBox="1"/>
              <p:nvPr/>
            </p:nvSpPr>
            <p:spPr>
              <a:xfrm>
                <a:off x="7069494" y="3130723"/>
                <a:ext cx="829676" cy="18770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uklear</a:t>
                </a:r>
              </a:p>
            </p:txBody>
          </p: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BB176951-1288-42A6-986A-0CAB77C07A7A}"/>
                </a:ext>
              </a:extLst>
            </p:cNvPr>
            <p:cNvGrpSpPr/>
            <p:nvPr/>
          </p:nvGrpSpPr>
          <p:grpSpPr>
            <a:xfrm>
              <a:off x="8267921" y="4102218"/>
              <a:ext cx="829676" cy="1037396"/>
              <a:chOff x="5164982" y="4220932"/>
              <a:chExt cx="829676" cy="1037396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5D47D7CF-5D96-45CB-97E4-BBA21A2D677A}"/>
                  </a:ext>
                </a:extLst>
              </p:cNvPr>
              <p:cNvSpPr/>
              <p:nvPr/>
            </p:nvSpPr>
            <p:spPr>
              <a:xfrm>
                <a:off x="5219780" y="4412273"/>
                <a:ext cx="720080" cy="846055"/>
              </a:xfrm>
              <a:prstGeom prst="rect">
                <a:avLst/>
              </a:prstGeom>
              <a:noFill/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400" dirty="0"/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9496A7A8-C7D1-4AC8-B1B1-C10E4E0E4205}"/>
                  </a:ext>
                </a:extLst>
              </p:cNvPr>
              <p:cNvSpPr/>
              <p:nvPr/>
            </p:nvSpPr>
            <p:spPr>
              <a:xfrm>
                <a:off x="5317570" y="4483858"/>
                <a:ext cx="524500" cy="188043"/>
              </a:xfrm>
              <a:prstGeom prst="rect">
                <a:avLst/>
              </a:prstGeom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1</a:t>
                </a: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2FF1784B-3013-446E-B6E6-A4637AE0A561}"/>
                  </a:ext>
                </a:extLst>
              </p:cNvPr>
              <p:cNvSpPr/>
              <p:nvPr/>
            </p:nvSpPr>
            <p:spPr>
              <a:xfrm>
                <a:off x="5317570" y="4734772"/>
                <a:ext cx="524500" cy="18804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2</a:t>
                </a: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8C1882A8-1BC5-44BF-B115-6D8D4F4A1385}"/>
                  </a:ext>
                </a:extLst>
              </p:cNvPr>
              <p:cNvSpPr/>
              <p:nvPr/>
            </p:nvSpPr>
            <p:spPr>
              <a:xfrm>
                <a:off x="5317570" y="5008614"/>
                <a:ext cx="524500" cy="18804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000" dirty="0"/>
                  <a:t>Typ3</a:t>
                </a:r>
              </a:p>
            </p:txBody>
          </p: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1A876406-61A5-4E50-AB7D-C0899E549BF5}"/>
                  </a:ext>
                </a:extLst>
              </p:cNvPr>
              <p:cNvSpPr txBox="1"/>
              <p:nvPr/>
            </p:nvSpPr>
            <p:spPr>
              <a:xfrm>
                <a:off x="5164982" y="4220932"/>
                <a:ext cx="829676" cy="18770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GuD</a:t>
                </a:r>
                <a:endParaRPr lang="de-DE" sz="9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551E1B71-334D-4270-AA4F-32C6624D27EA}"/>
              </a:ext>
            </a:extLst>
          </p:cNvPr>
          <p:cNvGrpSpPr/>
          <p:nvPr/>
        </p:nvGrpSpPr>
        <p:grpSpPr>
          <a:xfrm>
            <a:off x="525283" y="2489560"/>
            <a:ext cx="6432096" cy="2959547"/>
            <a:chOff x="2679111" y="2303880"/>
            <a:chExt cx="6432096" cy="2959547"/>
          </a:xfrm>
        </p:grpSpPr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F73C333A-09BF-4FC3-AD5A-8A653E3C4D0C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A38016BD-4FFD-4FE4-87BD-17E5B365AADC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E5BB6D16-D5AA-482A-A81B-0D1BB88EB92D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FADCC63D-DD4A-494D-8540-37312CBBED87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62" name="Grafik 61" descr="Kraftwerk">
                <a:extLst>
                  <a:ext uri="{FF2B5EF4-FFF2-40B4-BE49-F238E27FC236}">
                    <a16:creationId xmlns:a16="http://schemas.microsoft.com/office/drawing/2014/main" id="{5C0020DA-8520-4081-B709-85B0792E59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59" name="Pfeil: nach oben 58">
              <a:extLst>
                <a:ext uri="{FF2B5EF4-FFF2-40B4-BE49-F238E27FC236}">
                  <a16:creationId xmlns:a16="http://schemas.microsoft.com/office/drawing/2014/main" id="{E557734F-7C8E-4BD3-8ECF-BAFB39969BB1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Pfeil: nach oben 59">
              <a:extLst>
                <a:ext uri="{FF2B5EF4-FFF2-40B4-BE49-F238E27FC236}">
                  <a16:creationId xmlns:a16="http://schemas.microsoft.com/office/drawing/2014/main" id="{2B99E09D-42E9-4482-BDE1-41147E89E9A6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2034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3ACFA53-C72F-488A-81A4-F3EC1E0EF99B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</a:t>
            </a:fld>
            <a:endParaRPr lang="de-DE" alt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ufbau der Simulation</a:t>
            </a:r>
          </a:p>
          <a:p>
            <a:r>
              <a:rPr lang="de-DE" dirty="0"/>
              <a:t>Infrastruktur der Simulation</a:t>
            </a:r>
          </a:p>
          <a:p>
            <a:endParaRPr lang="de-DE" dirty="0"/>
          </a:p>
          <a:p>
            <a:r>
              <a:rPr lang="de-DE" dirty="0"/>
              <a:t>Agent konventionelle Kraftwerke 	(PWP-Agent)</a:t>
            </a:r>
          </a:p>
          <a:p>
            <a:r>
              <a:rPr lang="de-DE" dirty="0"/>
              <a:t>Agent Erneuerbare Energie		(RES-Agent)</a:t>
            </a:r>
          </a:p>
          <a:p>
            <a:r>
              <a:rPr lang="de-DE" dirty="0"/>
              <a:t>Agent Stromnachfrage			(DEM-Agent)</a:t>
            </a:r>
          </a:p>
          <a:p>
            <a:r>
              <a:rPr lang="de-DE" dirty="0"/>
              <a:t>Agent Übertragungsnetzbetreiber	(NET-Agent)</a:t>
            </a:r>
          </a:p>
          <a:p>
            <a:endParaRPr lang="de-DE" dirty="0"/>
          </a:p>
          <a:p>
            <a:r>
              <a:rPr lang="de-DE" dirty="0"/>
              <a:t>Ergebnisse</a:t>
            </a:r>
          </a:p>
          <a:p>
            <a:endParaRPr lang="de-DE" dirty="0"/>
          </a:p>
          <a:p>
            <a:r>
              <a:rPr lang="de-DE" dirty="0"/>
              <a:t>Veröffentlichu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457200" lvl="1" indent="0">
              <a:buNone/>
            </a:pP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4897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12D611D2-09F3-4321-A71E-B3738F4AAA1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0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er erste Schritt der Vermarktung ist eine Optimierung auf Basis eines Unit </a:t>
            </a:r>
            <a:r>
              <a:rPr lang="de-DE" dirty="0" err="1"/>
              <a:t>Commitment</a:t>
            </a:r>
            <a:r>
              <a:rPr lang="de-DE" dirty="0"/>
              <a:t> Problems. Das Ergebnis ist ein einfacher Fahrpla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sz="1400" b="1" dirty="0"/>
                  <a:t>Optimaler Dispatch</a:t>
                </a:r>
              </a:p>
              <a:p>
                <a:r>
                  <a:rPr lang="de-DE" sz="1400" dirty="0"/>
                  <a:t>Berechnung des optimalen Fahrplans mit Hilfe eines Unit </a:t>
                </a:r>
                <a:r>
                  <a:rPr lang="de-DE" sz="1400" dirty="0" err="1"/>
                  <a:t>Commitment</a:t>
                </a:r>
                <a:r>
                  <a:rPr lang="de-DE" sz="1400" dirty="0"/>
                  <a:t> Problems.</a:t>
                </a:r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pPr marL="457200" lvl="1" indent="0">
                  <a:buNone/>
                </a:pPr>
                <a:endParaRPr lang="de-DE" sz="1200" dirty="0"/>
              </a:p>
              <a:p>
                <a:pPr marL="457200" lvl="1" indent="0">
                  <a:buNone/>
                </a:pPr>
                <a:r>
                  <a:rPr lang="de-DE" sz="1200" b="1" dirty="0"/>
                  <a:t>Zielfunktion:</a:t>
                </a:r>
                <a:r>
                  <a:rPr lang="de-DE" sz="1200" dirty="0"/>
                  <a:t>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200" b="0" i="0" smtClean="0">
                        <a:latin typeface="Cambria Math" panose="02040503050406030204" pitchFamily="18" charset="0"/>
                      </a:rPr>
                      <m:t>max</m:t>
                    </m:r>
                    <m:d>
                      <m:d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∑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𝑃𝑟𝑜𝑓𝑖</m:t>
                        </m:r>
                        <m:sSub>
                          <m:sSubPr>
                            <m:ctrlPr>
                              <a:rPr lang="de-DE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2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1200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200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e>
                    </m:d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 ∀ 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𝑏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𝐴𝑟𝑒𝑎</m:t>
                    </m:r>
                  </m:oMath>
                </a14:m>
                <a:endParaRPr lang="de-DE" sz="1200" dirty="0"/>
              </a:p>
              <a:p>
                <a:endParaRPr lang="de-DE" sz="1400" dirty="0"/>
              </a:p>
              <a:p>
                <a:r>
                  <a:rPr lang="de-DE" sz="1400" dirty="0"/>
                  <a:t>Weitere Rückgabewerte sind:</a:t>
                </a:r>
              </a:p>
              <a:p>
                <a:pPr lvl="1"/>
                <a:r>
                  <a:rPr lang="de-DE" sz="1200" dirty="0"/>
                  <a:t>Emissions- und</a:t>
                </a:r>
              </a:p>
              <a:p>
                <a:pPr lvl="1"/>
                <a:r>
                  <a:rPr lang="de-DE" sz="1200" dirty="0"/>
                  <a:t>Brennstoffkosten</a:t>
                </a:r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  <a:blipFill>
                <a:blip r:embed="rId3"/>
                <a:stretch>
                  <a:fillRect l="-398" t="-304" r="-1461" b="-22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Grafik 11">
            <a:extLst>
              <a:ext uri="{FF2B5EF4-FFF2-40B4-BE49-F238E27FC236}">
                <a16:creationId xmlns:a16="http://schemas.microsoft.com/office/drawing/2014/main" id="{B486D755-EDB0-43CC-AF8D-AA55CE4BDB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7189" y="2988407"/>
            <a:ext cx="4124139" cy="1415278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7977A43-32A4-42BC-829D-214D06FC18F4}"/>
              </a:ext>
            </a:extLst>
          </p:cNvPr>
          <p:cNvGrpSpPr/>
          <p:nvPr/>
        </p:nvGrpSpPr>
        <p:grpSpPr>
          <a:xfrm>
            <a:off x="525283" y="2489560"/>
            <a:ext cx="6297209" cy="2959547"/>
            <a:chOff x="2679111" y="2303880"/>
            <a:chExt cx="6297209" cy="295954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A0E7DE67-EBE4-465C-B24D-52A8149C8CD8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3EB81BB4-0BBA-449D-B4BC-45EDCC473EDF}"/>
                </a:ext>
              </a:extLst>
            </p:cNvPr>
            <p:cNvSpPr txBox="1"/>
            <p:nvPr/>
          </p:nvSpPr>
          <p:spPr>
            <a:xfrm>
              <a:off x="6513403" y="3956968"/>
              <a:ext cx="2096466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C63765E0-F13A-412C-B889-B948FA284670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3C70F42E-1C82-4558-8000-AD507FFECB64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32" name="Grafik 31" descr="Kraftwerk">
                <a:extLst>
                  <a:ext uri="{FF2B5EF4-FFF2-40B4-BE49-F238E27FC236}">
                    <a16:creationId xmlns:a16="http://schemas.microsoft.com/office/drawing/2014/main" id="{7E342510-6CC6-4C8D-9A67-2A522A51A2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29" name="Pfeil: nach oben 28">
              <a:extLst>
                <a:ext uri="{FF2B5EF4-FFF2-40B4-BE49-F238E27FC236}">
                  <a16:creationId xmlns:a16="http://schemas.microsoft.com/office/drawing/2014/main" id="{7015297A-CE46-4AB0-8A46-C0EC257F28D0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Pfeil: nach oben 29">
              <a:extLst>
                <a:ext uri="{FF2B5EF4-FFF2-40B4-BE49-F238E27FC236}">
                  <a16:creationId xmlns:a16="http://schemas.microsoft.com/office/drawing/2014/main" id="{B4F7B85E-5C64-47AF-A255-F085CC551A06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772762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D94A94D9-F3FF-4D92-A837-77331D15FC40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eitgleich wird die technisch maximale Leistung mit den zugehörigen Kosten bestimmt. Dieser Betriebspunkt ist die obere Grenze der Angebotsfunktio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sz="1400" b="1" dirty="0"/>
                  <a:t>Maximaler Dispatch</a:t>
                </a:r>
              </a:p>
              <a:p>
                <a:r>
                  <a:rPr lang="de-DE" sz="1400" dirty="0"/>
                  <a:t>Berechnung des maximalen Fahrplans mit Hilfe eines Unit </a:t>
                </a:r>
                <a:r>
                  <a:rPr lang="de-DE" sz="1400" dirty="0" err="1"/>
                  <a:t>Commitment</a:t>
                </a:r>
                <a:r>
                  <a:rPr lang="de-DE" sz="1400" dirty="0"/>
                  <a:t> Problems.</a:t>
                </a:r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pPr marL="457200" lvl="1" indent="0">
                  <a:buNone/>
                </a:pPr>
                <a:r>
                  <a:rPr lang="de-DE" sz="1200" b="1" dirty="0"/>
                  <a:t>Zielfunktion: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200">
                        <a:latin typeface="Cambria Math" panose="02040503050406030204" pitchFamily="18" charset="0"/>
                      </a:rPr>
                      <m:t>max</m:t>
                    </m:r>
                    <m:d>
                      <m:d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∑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𝑃𝑜𝑤𝑒</m:t>
                        </m:r>
                        <m:sSub>
                          <m:sSub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e>
                          <m:sub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e>
                    </m:d>
                    <m:r>
                      <a:rPr lang="de-DE" sz="1200" i="1">
                        <a:latin typeface="Cambria Math" panose="02040503050406030204" pitchFamily="18" charset="0"/>
                      </a:rPr>
                      <m:t> ∀ 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𝑇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𝑏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𝐴𝑟𝑒𝑎</m:t>
                    </m:r>
                  </m:oMath>
                </a14:m>
                <a:endParaRPr lang="de-DE" sz="1200" dirty="0"/>
              </a:p>
              <a:p>
                <a:pPr marL="457200" lvl="1" indent="0">
                  <a:buNone/>
                </a:pPr>
                <a:endParaRPr lang="de-DE" sz="1200" dirty="0"/>
              </a:p>
              <a:p>
                <a:r>
                  <a:rPr lang="de-DE" sz="1400" dirty="0"/>
                  <a:t>Weitere Rückgabewerte sind:</a:t>
                </a:r>
              </a:p>
              <a:p>
                <a:pPr lvl="1"/>
                <a:r>
                  <a:rPr lang="de-DE" sz="1200" dirty="0"/>
                  <a:t>Emissions- und</a:t>
                </a:r>
              </a:p>
              <a:p>
                <a:pPr lvl="1"/>
                <a:r>
                  <a:rPr lang="de-DE" sz="1200" dirty="0"/>
                  <a:t>Brennstoffkosten</a:t>
                </a:r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  <a:blipFill>
                <a:blip r:embed="rId3"/>
                <a:stretch>
                  <a:fillRect l="-398" t="-304" b="-228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Grafik 2">
            <a:extLst>
              <a:ext uri="{FF2B5EF4-FFF2-40B4-BE49-F238E27FC236}">
                <a16:creationId xmlns:a16="http://schemas.microsoft.com/office/drawing/2014/main" id="{6874255D-D2CC-4BD8-98C2-73C65B12C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4983" y="3032415"/>
            <a:ext cx="3942577" cy="1352971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A3BA421-CC32-42C6-8B94-C47455378E36}"/>
              </a:ext>
            </a:extLst>
          </p:cNvPr>
          <p:cNvCxnSpPr/>
          <p:nvPr/>
        </p:nvCxnSpPr>
        <p:spPr>
          <a:xfrm>
            <a:off x="7403422" y="3251271"/>
            <a:ext cx="345638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08C3AC71-AE6C-4883-8C02-3DF213AFF033}"/>
              </a:ext>
            </a:extLst>
          </p:cNvPr>
          <p:cNvSpPr txBox="1"/>
          <p:nvPr/>
        </p:nvSpPr>
        <p:spPr>
          <a:xfrm>
            <a:off x="7650107" y="3011163"/>
            <a:ext cx="2952328" cy="24622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000" b="1" kern="0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ximaler Fahrpla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1F663ED-FAD8-4968-A934-6E210E723403}"/>
              </a:ext>
            </a:extLst>
          </p:cNvPr>
          <p:cNvGrpSpPr/>
          <p:nvPr/>
        </p:nvGrpSpPr>
        <p:grpSpPr>
          <a:xfrm>
            <a:off x="525283" y="2489560"/>
            <a:ext cx="6297209" cy="2959547"/>
            <a:chOff x="2679111" y="2303880"/>
            <a:chExt cx="6297209" cy="295954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EF201E9F-6C61-4E2D-A5CA-DC16A01C390B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96405FA6-7322-48F8-B6CA-7802D0A5359E}"/>
                </a:ext>
              </a:extLst>
            </p:cNvPr>
            <p:cNvSpPr txBox="1"/>
            <p:nvPr/>
          </p:nvSpPr>
          <p:spPr>
            <a:xfrm>
              <a:off x="6513403" y="3956968"/>
              <a:ext cx="2096466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x. Dispatch</a:t>
              </a:r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AFCBFB94-8DF1-4719-9429-69BB770D1898}"/>
                </a:ext>
              </a:extLst>
            </p:cNvPr>
            <p:cNvGrpSpPr/>
            <p:nvPr/>
          </p:nvGrpSpPr>
          <p:grpSpPr>
            <a:xfrm>
              <a:off x="2679111" y="2308934"/>
              <a:ext cx="3672410" cy="2954493"/>
              <a:chOff x="3503712" y="2351246"/>
              <a:chExt cx="3672410" cy="2229882"/>
            </a:xfrm>
          </p:grpSpPr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F8026D06-FE6C-4E23-83EA-3A3736C25B3B}"/>
                  </a:ext>
                </a:extLst>
              </p:cNvPr>
              <p:cNvSpPr/>
              <p:nvPr/>
            </p:nvSpPr>
            <p:spPr>
              <a:xfrm rot="16200000">
                <a:off x="4224976" y="1629982"/>
                <a:ext cx="2229882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Konventionelle Kraftwerke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Gradien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und maximale 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minimale Still – und Laufzei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artkosten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Emissionsfaktor </a:t>
                </a:r>
              </a:p>
            </p:txBody>
          </p:sp>
          <p:pic>
            <p:nvPicPr>
              <p:cNvPr id="34" name="Grafik 33" descr="Kraftwerk">
                <a:extLst>
                  <a:ext uri="{FF2B5EF4-FFF2-40B4-BE49-F238E27FC236}">
                    <a16:creationId xmlns:a16="http://schemas.microsoft.com/office/drawing/2014/main" id="{0BFC2BB6-7E47-41EA-8F60-7EC1A71867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686964" y="2406744"/>
                <a:ext cx="437214" cy="336709"/>
              </a:xfrm>
              <a:prstGeom prst="rect">
                <a:avLst/>
              </a:prstGeom>
            </p:spPr>
          </p:pic>
        </p:grpSp>
        <p:sp>
          <p:nvSpPr>
            <p:cNvPr id="31" name="Pfeil: nach oben 30">
              <a:extLst>
                <a:ext uri="{FF2B5EF4-FFF2-40B4-BE49-F238E27FC236}">
                  <a16:creationId xmlns:a16="http://schemas.microsoft.com/office/drawing/2014/main" id="{079816BB-1081-4600-93CB-EDF6E74EE0E6}"/>
                </a:ext>
              </a:extLst>
            </p:cNvPr>
            <p:cNvSpPr/>
            <p:nvPr/>
          </p:nvSpPr>
          <p:spPr>
            <a:xfrm rot="16200000">
              <a:off x="6071580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" name="Pfeil: nach oben 31">
              <a:extLst>
                <a:ext uri="{FF2B5EF4-FFF2-40B4-BE49-F238E27FC236}">
                  <a16:creationId xmlns:a16="http://schemas.microsoft.com/office/drawing/2014/main" id="{878968C4-F50B-46FC-844D-846CD223500B}"/>
                </a:ext>
              </a:extLst>
            </p:cNvPr>
            <p:cNvSpPr/>
            <p:nvPr/>
          </p:nvSpPr>
          <p:spPr>
            <a:xfrm rot="5400000">
              <a:off x="6071580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947253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B2D47A80-4C63-4FF5-A3E4-E0F31A41E005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2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Aufgrund der geringen Anzahl an großtechnischen Speichern wird auf eine Klassifizierung verzichte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pPr marL="2066925" lvl="1" indent="-182563">
              <a:buNone/>
            </a:pPr>
            <a:endParaRPr lang="de-DE" sz="1200" dirty="0"/>
          </a:p>
          <a:p>
            <a:pPr marL="2332038" indent="-265113"/>
            <a:r>
              <a:rPr lang="de-DE" sz="1400" dirty="0"/>
              <a:t>Die Pumpspeicher-kraftwerke wurden nicht in Klassen eingeteilt, sondern anhand ihrer realen Daten implementiert. </a:t>
            </a:r>
          </a:p>
          <a:p>
            <a:pPr marL="2514600" lvl="1" indent="-182563"/>
            <a:r>
              <a:rPr lang="de-DE" sz="1200" dirty="0"/>
              <a:t>Quelle: Bundesumweltamt, Wikipedia</a:t>
            </a:r>
          </a:p>
          <a:p>
            <a:pPr lvl="1"/>
            <a:endParaRPr lang="de-DE" sz="12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4" y="2489560"/>
            <a:ext cx="6596691" cy="2959547"/>
            <a:chOff x="2679112" y="2303880"/>
            <a:chExt cx="6596691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2" y="3956968"/>
              <a:ext cx="2762401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C7C5B78-D973-4C23-9FA9-A71A2C495D64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umpspeicherkraftwerke</a:t>
              </a:r>
              <a:endParaRPr lang="de-DE" sz="1600" kern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radienten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inimale und maximale Leis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peichervolumen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</a:t>
              </a:r>
            </a:p>
          </p:txBody>
        </p: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107636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91327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3" name="Picture 2" descr="VERBUND-Pumpspeicherkraftwerke">
            <a:extLst>
              <a:ext uri="{FF2B5EF4-FFF2-40B4-BE49-F238E27FC236}">
                <a16:creationId xmlns:a16="http://schemas.microsoft.com/office/drawing/2014/main" id="{8E0970E0-A61D-40AF-AA2D-0E6A480BA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173" y="2555171"/>
            <a:ext cx="382706" cy="38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394" name="Picture 2" descr="Infografik-Serie Stromspeicher « Daniela Leitner / Design trifft ...">
            <a:extLst>
              <a:ext uri="{FF2B5EF4-FFF2-40B4-BE49-F238E27FC236}">
                <a16:creationId xmlns:a16="http://schemas.microsoft.com/office/drawing/2014/main" id="{D540E865-A560-4BE7-A099-7F11F70798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1" t="8715" r="17227"/>
          <a:stretch/>
        </p:blipFill>
        <p:spPr bwMode="auto">
          <a:xfrm>
            <a:off x="6920598" y="2348880"/>
            <a:ext cx="1921784" cy="2680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C929CDEF-A941-46DF-B99B-1CD16A215387}"/>
              </a:ext>
            </a:extLst>
          </p:cNvPr>
          <p:cNvSpPr txBox="1"/>
          <p:nvPr/>
        </p:nvSpPr>
        <p:spPr>
          <a:xfrm>
            <a:off x="491395" y="5852273"/>
            <a:ext cx="6112764" cy="24622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>
            <a:spAutoFit/>
          </a:bodyPr>
          <a:lstStyle/>
          <a:p>
            <a:r>
              <a:rPr lang="de-DE" sz="1000" dirty="0">
                <a:latin typeface="+mj-lt"/>
              </a:rPr>
              <a:t>Quelle: https://www.danielaleitner.de/infografik-serie-stromspeicher/</a:t>
            </a:r>
          </a:p>
        </p:txBody>
      </p:sp>
    </p:spTree>
    <p:extLst>
      <p:ext uri="{BB962C8B-B14F-4D97-AF65-F5344CB8AC3E}">
        <p14:creationId xmlns:p14="http://schemas.microsoft.com/office/powerpoint/2010/main" val="2829429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DECB8EB2-DAE5-4C5A-9452-BDB309C40DF6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3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Speicher werden zusammen mit den konventionellen Kraftwerken optimiert, die Vermarktung wird gesondert durchgeführt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sz="1400" b="1" dirty="0"/>
                  <a:t>Optimaler Dispatch</a:t>
                </a:r>
              </a:p>
              <a:p>
                <a:r>
                  <a:rPr lang="de-DE" sz="1400" dirty="0"/>
                  <a:t>Berechnung des optimalen Fahrplans mit Hilfe eines Unit </a:t>
                </a:r>
                <a:r>
                  <a:rPr lang="de-DE" sz="1400" dirty="0" err="1"/>
                  <a:t>Commitment</a:t>
                </a:r>
                <a:r>
                  <a:rPr lang="de-DE" sz="1400" dirty="0"/>
                  <a:t> Problems.</a:t>
                </a:r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pPr lvl="1"/>
                <a:endParaRPr lang="de-DE" sz="1200" dirty="0"/>
              </a:p>
              <a:p>
                <a:pPr marL="457200" lvl="1" indent="0">
                  <a:buNone/>
                </a:pPr>
                <a:r>
                  <a:rPr lang="de-DE" sz="1200" b="1" dirty="0"/>
                  <a:t>Zielfunktion: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1200">
                        <a:latin typeface="Cambria Math" panose="02040503050406030204" pitchFamily="18" charset="0"/>
                      </a:rPr>
                      <m:t>max</m:t>
                    </m:r>
                    <m:d>
                      <m:d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∑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𝑃𝑟𝑜𝑓𝑖</m:t>
                        </m:r>
                        <m:sSub>
                          <m:sSub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e>
                    </m:d>
                    <m:r>
                      <a:rPr lang="de-DE" sz="1200" i="1">
                        <a:latin typeface="Cambria Math" panose="02040503050406030204" pitchFamily="18" charset="0"/>
                      </a:rPr>
                      <m:t> ∀ 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𝑇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𝑏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200" i="1">
                        <a:latin typeface="Cambria Math" panose="02040503050406030204" pitchFamily="18" charset="0"/>
                      </a:rPr>
                      <m:t>𝐴𝑟𝑒𝑎</m:t>
                    </m:r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endParaRPr lang="de-DE" sz="1400" dirty="0"/>
              </a:p>
              <a:p>
                <a:pPr marL="0" indent="0">
                  <a:buNone/>
                </a:pPr>
                <a:endParaRPr lang="de-DE" sz="12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  <a:blipFill>
                <a:blip r:embed="rId3"/>
                <a:stretch>
                  <a:fillRect l="-398" t="-304" r="-14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 descr="VERBUND-Pumpspeicherkraftwerke">
            <a:extLst>
              <a:ext uri="{FF2B5EF4-FFF2-40B4-BE49-F238E27FC236}">
                <a16:creationId xmlns:a16="http://schemas.microsoft.com/office/drawing/2014/main" id="{8E0970E0-A61D-40AF-AA2D-0E6A480BA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173" y="2555171"/>
            <a:ext cx="382706" cy="38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ED18EF1-E673-4564-ADA2-AF2959F2C9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80775" y="2975585"/>
            <a:ext cx="3942000" cy="1348465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226B2DE-9F1F-4E91-BB0C-E4A897091087}"/>
              </a:ext>
            </a:extLst>
          </p:cNvPr>
          <p:cNvGrpSpPr/>
          <p:nvPr/>
        </p:nvGrpSpPr>
        <p:grpSpPr>
          <a:xfrm>
            <a:off x="525284" y="2489560"/>
            <a:ext cx="6596691" cy="2959547"/>
            <a:chOff x="2679112" y="2303880"/>
            <a:chExt cx="6596691" cy="295954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1A0F49F0-7001-49EA-842D-23B07148C4AA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64B08FAA-E223-411C-9FBA-AFFC2B9FEF89}"/>
                </a:ext>
              </a:extLst>
            </p:cNvPr>
            <p:cNvSpPr txBox="1"/>
            <p:nvPr/>
          </p:nvSpPr>
          <p:spPr>
            <a:xfrm>
              <a:off x="6513402" y="3956968"/>
              <a:ext cx="2762401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1530BA70-9C9E-4ADA-91C2-5784785048CC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umpspeicherkraftwerke</a:t>
              </a:r>
              <a:endParaRPr lang="de-DE" sz="16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radienten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inimale und maximale Leis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peichervolumen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</a:t>
              </a:r>
            </a:p>
          </p:txBody>
        </p:sp>
        <p:sp>
          <p:nvSpPr>
            <p:cNvPr id="23" name="Pfeil: nach oben 22">
              <a:extLst>
                <a:ext uri="{FF2B5EF4-FFF2-40B4-BE49-F238E27FC236}">
                  <a16:creationId xmlns:a16="http://schemas.microsoft.com/office/drawing/2014/main" id="{A6B5C069-6266-453B-A672-E170C4CB6DE0}"/>
                </a:ext>
              </a:extLst>
            </p:cNvPr>
            <p:cNvSpPr/>
            <p:nvPr/>
          </p:nvSpPr>
          <p:spPr>
            <a:xfrm rot="16200000">
              <a:off x="6107636" y="3050138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Pfeil: nach oben 27">
              <a:extLst>
                <a:ext uri="{FF2B5EF4-FFF2-40B4-BE49-F238E27FC236}">
                  <a16:creationId xmlns:a16="http://schemas.microsoft.com/office/drawing/2014/main" id="{D75C2971-835A-4ECE-9767-1FA8A486BFC1}"/>
                </a:ext>
              </a:extLst>
            </p:cNvPr>
            <p:cNvSpPr/>
            <p:nvPr/>
          </p:nvSpPr>
          <p:spPr>
            <a:xfrm rot="5400000">
              <a:off x="6091327" y="4306133"/>
              <a:ext cx="360000" cy="468000"/>
            </a:xfrm>
            <a:prstGeom prst="upArrow">
              <a:avLst/>
            </a:prstGeom>
            <a:solidFill>
              <a:schemeClr val="accent2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8789379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ED7F34C7-796B-4D1D-AFD5-AAB2D8E0AEAB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4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Aus den optimalen Fahrplänen des Portfolios wird anschließend ein Orderbuch zur Vermarktung am </a:t>
            </a:r>
            <a:r>
              <a:rPr lang="de-DE" dirty="0" err="1"/>
              <a:t>DayAhead</a:t>
            </a:r>
            <a:r>
              <a:rPr lang="de-DE" dirty="0"/>
              <a:t> Markt erstellt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PWP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 err="1"/>
                <a:t>DayAhead</a:t>
              </a:r>
              <a:r>
                <a:rPr lang="de-DE" sz="1400" b="1" dirty="0"/>
                <a:t> Markt</a:t>
              </a:r>
            </a:p>
          </p:txBody>
        </p:sp>
        <p:pic>
          <p:nvPicPr>
            <p:cNvPr id="16" name="Grafik 15" descr="Kraftwerk">
              <a:extLst>
                <a:ext uri="{FF2B5EF4-FFF2-40B4-BE49-F238E27FC236}">
                  <a16:creationId xmlns:a16="http://schemas.microsoft.com/office/drawing/2014/main" id="{4CECD829-1903-457D-B0ED-170E52D35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252037" y="2706766"/>
              <a:ext cx="476401" cy="476401"/>
            </a:xfrm>
            <a:prstGeom prst="rect">
              <a:avLst/>
            </a:prstGeom>
          </p:spPr>
        </p:pic>
        <p:pic>
          <p:nvPicPr>
            <p:cNvPr id="28" name="Picture 2" descr="VERBUND-Pumpspeicherkraftwerke">
              <a:extLst>
                <a:ext uri="{FF2B5EF4-FFF2-40B4-BE49-F238E27FC236}">
                  <a16:creationId xmlns:a16="http://schemas.microsoft.com/office/drawing/2014/main" id="{82C6FDA5-8201-4EC2-94E9-A0EF9C678F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9063" y="3650155"/>
              <a:ext cx="510287" cy="510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Ökon. Kenngrößen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32328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pic>
          <p:nvPicPr>
            <p:cNvPr id="62" name="Grafik 61" descr="Kraftwerk">
              <a:extLst>
                <a:ext uri="{FF2B5EF4-FFF2-40B4-BE49-F238E27FC236}">
                  <a16:creationId xmlns:a16="http://schemas.microsoft.com/office/drawing/2014/main" id="{F0CE4E62-0C7A-4224-BA2E-A88671D97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957549" y="2821575"/>
              <a:ext cx="476401" cy="476401"/>
            </a:xfrm>
            <a:prstGeom prst="rect">
              <a:avLst/>
            </a:prstGeom>
          </p:spPr>
        </p:pic>
        <p:pic>
          <p:nvPicPr>
            <p:cNvPr id="64" name="Grafik 63" descr="Kraftwerk">
              <a:extLst>
                <a:ext uri="{FF2B5EF4-FFF2-40B4-BE49-F238E27FC236}">
                  <a16:creationId xmlns:a16="http://schemas.microsoft.com/office/drawing/2014/main" id="{6E4CB875-E592-4FA8-B881-5624A27F9B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89032" y="3325968"/>
              <a:ext cx="476401" cy="476401"/>
            </a:xfrm>
            <a:prstGeom prst="rect">
              <a:avLst/>
            </a:prstGeom>
          </p:spPr>
        </p:pic>
        <p:pic>
          <p:nvPicPr>
            <p:cNvPr id="66" name="Grafik 65" descr="Kraftwerk">
              <a:extLst>
                <a:ext uri="{FF2B5EF4-FFF2-40B4-BE49-F238E27FC236}">
                  <a16:creationId xmlns:a16="http://schemas.microsoft.com/office/drawing/2014/main" id="{B7495510-771B-4273-ACD3-9EB9CFB65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17652" y="4047531"/>
              <a:ext cx="476401" cy="476401"/>
            </a:xfrm>
            <a:prstGeom prst="rect">
              <a:avLst/>
            </a:prstGeom>
          </p:spPr>
        </p:pic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. &amp; ökon.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31837" y="2347737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uschläg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e Stunde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5446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erbuch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851441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pic>
        <p:nvPicPr>
          <p:cNvPr id="8" name="Picture 2" descr="VERBUND-Pumpspeicherkraftwerke">
            <a:extLst>
              <a:ext uri="{FF2B5EF4-FFF2-40B4-BE49-F238E27FC236}">
                <a16:creationId xmlns:a16="http://schemas.microsoft.com/office/drawing/2014/main" id="{F744B1EA-9514-4136-8D2D-EFE38DFED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006" y="2345282"/>
            <a:ext cx="654475" cy="65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feil: 180-Grad 8">
            <a:extLst>
              <a:ext uri="{FF2B5EF4-FFF2-40B4-BE49-F238E27FC236}">
                <a16:creationId xmlns:a16="http://schemas.microsoft.com/office/drawing/2014/main" id="{3A073420-AA05-43F1-ACF3-AF54874B880D}"/>
              </a:ext>
            </a:extLst>
          </p:cNvPr>
          <p:cNvSpPr/>
          <p:nvPr/>
        </p:nvSpPr>
        <p:spPr>
          <a:xfrm rot="16200000">
            <a:off x="3899178" y="3438713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1" name="Pfeil: 180-Grad 10">
            <a:extLst>
              <a:ext uri="{FF2B5EF4-FFF2-40B4-BE49-F238E27FC236}">
                <a16:creationId xmlns:a16="http://schemas.microsoft.com/office/drawing/2014/main" id="{0FAFF77C-6CBD-4A10-9AC0-2DDB125CB7F9}"/>
              </a:ext>
            </a:extLst>
          </p:cNvPr>
          <p:cNvSpPr/>
          <p:nvPr/>
        </p:nvSpPr>
        <p:spPr>
          <a:xfrm rot="5400000">
            <a:off x="7427570" y="3500156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13" name="Grafik 12" descr="Angebot und Nachfrage">
            <a:extLst>
              <a:ext uri="{FF2B5EF4-FFF2-40B4-BE49-F238E27FC236}">
                <a16:creationId xmlns:a16="http://schemas.microsoft.com/office/drawing/2014/main" id="{19C31E56-6107-4751-BE92-C83934EC55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30524" y="3234811"/>
            <a:ext cx="1289743" cy="1289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2653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23C9BF1-4DEC-4196-B8C5-2EDEBD23304C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F0BE27-7530-4619-B5E9-5BE45E2382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0DFE848C-7839-4565-A074-713CDE952BDE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B6DEDB-2B25-4339-8A6B-FFAF93FE60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D3CFB3-70E6-4FD4-AA0F-8769C666FC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5</a:t>
            </a:fld>
            <a:endParaRPr lang="de-DE" alt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8F54220-DC4B-48C2-A629-36A0F28366C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Aufgabe der Agenten ist es aus dem Fahrplan (i.d.R. ein Punkt) eine Angebotskurve zu erstellen.</a:t>
            </a: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C1526818-AB38-4BB2-B368-F9CF4E0B8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011008"/>
              </p:ext>
            </p:extLst>
          </p:nvPr>
        </p:nvGraphicFramePr>
        <p:xfrm>
          <a:off x="528000" y="2475363"/>
          <a:ext cx="3458050" cy="2782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4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55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7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latin typeface="+mj-lt"/>
                        </a:rPr>
                        <a:t>Volumina</a:t>
                      </a:r>
                      <a:r>
                        <a:rPr lang="en-US" sz="1000" b="1" dirty="0">
                          <a:latin typeface="+mj-lt"/>
                        </a:rPr>
                        <a:t> MWh</a:t>
                      </a:r>
                    </a:p>
                  </a:txBody>
                  <a:tcPr marL="91452" marR="91452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2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+mj-lt"/>
                        </a:rPr>
                        <a:t>…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5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4" name="Rechteck 53">
            <a:extLst>
              <a:ext uri="{FF2B5EF4-FFF2-40B4-BE49-F238E27FC236}">
                <a16:creationId xmlns:a16="http://schemas.microsoft.com/office/drawing/2014/main" id="{05A290DE-4441-4A2A-881F-BEC5E02CA397}"/>
              </a:ext>
            </a:extLst>
          </p:cNvPr>
          <p:cNvSpPr/>
          <p:nvPr/>
        </p:nvSpPr>
        <p:spPr>
          <a:xfrm>
            <a:off x="1372580" y="2769249"/>
            <a:ext cx="720080" cy="10081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D8EDFC8-F251-421E-9CF9-FDEF62768827}"/>
              </a:ext>
            </a:extLst>
          </p:cNvPr>
          <p:cNvCxnSpPr/>
          <p:nvPr/>
        </p:nvCxnSpPr>
        <p:spPr>
          <a:xfrm>
            <a:off x="5286493" y="1990430"/>
            <a:ext cx="0" cy="3600400"/>
          </a:xfrm>
          <a:prstGeom prst="line">
            <a:avLst/>
          </a:prstGeom>
          <a:ln w="38100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2D9D366-89DB-4164-A559-550024AF2422}"/>
              </a:ext>
            </a:extLst>
          </p:cNvPr>
          <p:cNvCxnSpPr>
            <a:cxnSpLocks/>
          </p:cNvCxnSpPr>
          <p:nvPr/>
        </p:nvCxnSpPr>
        <p:spPr>
          <a:xfrm rot="16200000">
            <a:off x="6942677" y="3700379"/>
            <a:ext cx="0" cy="360040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244600B2-3CCF-44F1-AA65-4FEA322F06CB}"/>
              </a:ext>
            </a:extLst>
          </p:cNvPr>
          <p:cNvSpPr txBox="1"/>
          <p:nvPr/>
        </p:nvSpPr>
        <p:spPr>
          <a:xfrm>
            <a:off x="7954956" y="5556861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e [MWh]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F121872-1206-46A9-9C40-817938D7B122}"/>
              </a:ext>
            </a:extLst>
          </p:cNvPr>
          <p:cNvSpPr txBox="1"/>
          <p:nvPr/>
        </p:nvSpPr>
        <p:spPr>
          <a:xfrm rot="16200000">
            <a:off x="4464694" y="2468019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is [€/MWh]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D33659D8-0242-48BE-9731-3AF5606C873E}"/>
              </a:ext>
            </a:extLst>
          </p:cNvPr>
          <p:cNvSpPr/>
          <p:nvPr/>
        </p:nvSpPr>
        <p:spPr>
          <a:xfrm>
            <a:off x="7918956" y="2400391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5569EFFF-09F6-497A-BA58-C2221E87BB19}"/>
              </a:ext>
            </a:extLst>
          </p:cNvPr>
          <p:cNvSpPr txBox="1"/>
          <p:nvPr/>
        </p:nvSpPr>
        <p:spPr>
          <a:xfrm>
            <a:off x="8015219" y="2305586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100; 30)</a:t>
            </a:r>
          </a:p>
        </p:txBody>
      </p: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BE35CA2A-9069-4193-A216-61CC4C3C5D91}"/>
              </a:ext>
            </a:extLst>
          </p:cNvPr>
          <p:cNvCxnSpPr>
            <a:cxnSpLocks/>
            <a:endCxn id="61" idx="3"/>
          </p:cNvCxnSpPr>
          <p:nvPr/>
        </p:nvCxnSpPr>
        <p:spPr>
          <a:xfrm flipH="1" flipV="1">
            <a:off x="7929500" y="2461847"/>
            <a:ext cx="0" cy="3038731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511F0348-FBCB-4A69-AAE5-8B43FD0269A5}"/>
              </a:ext>
            </a:extLst>
          </p:cNvPr>
          <p:cNvCxnSpPr>
            <a:cxnSpLocks/>
          </p:cNvCxnSpPr>
          <p:nvPr/>
        </p:nvCxnSpPr>
        <p:spPr>
          <a:xfrm flipV="1">
            <a:off x="5275949" y="2448546"/>
            <a:ext cx="2643007" cy="10544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lipse 87">
            <a:extLst>
              <a:ext uri="{FF2B5EF4-FFF2-40B4-BE49-F238E27FC236}">
                <a16:creationId xmlns:a16="http://schemas.microsoft.com/office/drawing/2014/main" id="{B14F8EA4-F7BF-45DC-B05C-6E62D68F626C}"/>
              </a:ext>
            </a:extLst>
          </p:cNvPr>
          <p:cNvSpPr/>
          <p:nvPr/>
        </p:nvSpPr>
        <p:spPr>
          <a:xfrm>
            <a:off x="8492939" y="2077485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4177CF5E-345B-4D96-90C4-F4E09E539D58}"/>
              </a:ext>
            </a:extLst>
          </p:cNvPr>
          <p:cNvSpPr txBox="1"/>
          <p:nvPr/>
        </p:nvSpPr>
        <p:spPr>
          <a:xfrm>
            <a:off x="8527779" y="1978221"/>
            <a:ext cx="1265414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x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 Preis)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07438E82-FC75-4EE3-B827-8B889ECD98E7}"/>
              </a:ext>
            </a:extLst>
          </p:cNvPr>
          <p:cNvCxnSpPr>
            <a:cxnSpLocks/>
          </p:cNvCxnSpPr>
          <p:nvPr/>
        </p:nvCxnSpPr>
        <p:spPr>
          <a:xfrm>
            <a:off x="7954956" y="2109026"/>
            <a:ext cx="537983" cy="1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1569C21D-49E7-4A49-998C-8302130E3643}"/>
              </a:ext>
            </a:extLst>
          </p:cNvPr>
          <p:cNvCxnSpPr>
            <a:cxnSpLocks/>
          </p:cNvCxnSpPr>
          <p:nvPr/>
        </p:nvCxnSpPr>
        <p:spPr>
          <a:xfrm>
            <a:off x="7954956" y="2096533"/>
            <a:ext cx="0" cy="303858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103" name="Tabelle 102">
            <a:extLst>
              <a:ext uri="{FF2B5EF4-FFF2-40B4-BE49-F238E27FC236}">
                <a16:creationId xmlns:a16="http://schemas.microsoft.com/office/drawing/2014/main" id="{F0AF9D87-E60E-4D3C-BC99-F6DC2EEFD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370629"/>
              </p:ext>
            </p:extLst>
          </p:nvPr>
        </p:nvGraphicFramePr>
        <p:xfrm>
          <a:off x="7296920" y="3684052"/>
          <a:ext cx="4100289" cy="13007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5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853199856"/>
                    </a:ext>
                  </a:extLst>
                </a:gridCol>
              </a:tblGrid>
              <a:tr h="313200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11,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13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30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i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ax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MWh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 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opt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ax-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5E50F309-751C-4328-ACA6-D5BF2E6817E8}"/>
              </a:ext>
            </a:extLst>
          </p:cNvPr>
          <p:cNvCxnSpPr/>
          <p:nvPr/>
        </p:nvCxnSpPr>
        <p:spPr>
          <a:xfrm>
            <a:off x="2419384" y="3518518"/>
            <a:ext cx="2723093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63ED23C8-25D7-44EF-BA92-A1FCBA76042A}"/>
              </a:ext>
            </a:extLst>
          </p:cNvPr>
          <p:cNvCxnSpPr>
            <a:cxnSpLocks/>
          </p:cNvCxnSpPr>
          <p:nvPr/>
        </p:nvCxnSpPr>
        <p:spPr>
          <a:xfrm>
            <a:off x="6096000" y="4005064"/>
            <a:ext cx="1200920" cy="792088"/>
          </a:xfrm>
          <a:prstGeom prst="bentConnector3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Textfeld 110">
            <a:extLst>
              <a:ext uri="{FF2B5EF4-FFF2-40B4-BE49-F238E27FC236}">
                <a16:creationId xmlns:a16="http://schemas.microsoft.com/office/drawing/2014/main" id="{7F377EF2-DD47-408D-B780-B16F8CB3107D}"/>
              </a:ext>
            </a:extLst>
          </p:cNvPr>
          <p:cNvSpPr txBox="1"/>
          <p:nvPr/>
        </p:nvSpPr>
        <p:spPr>
          <a:xfrm>
            <a:off x="5313734" y="4472178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0; 10)</a:t>
            </a:r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3C3B0088-0192-49E6-9C86-DF79BABB52E2}"/>
              </a:ext>
            </a:extLst>
          </p:cNvPr>
          <p:cNvCxnSpPr>
            <a:cxnSpLocks/>
            <a:endCxn id="61" idx="3"/>
          </p:cNvCxnSpPr>
          <p:nvPr/>
        </p:nvCxnSpPr>
        <p:spPr>
          <a:xfrm flipV="1">
            <a:off x="5282623" y="2461847"/>
            <a:ext cx="2646877" cy="2148806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2" name="Ellipse 121">
            <a:extLst>
              <a:ext uri="{FF2B5EF4-FFF2-40B4-BE49-F238E27FC236}">
                <a16:creationId xmlns:a16="http://schemas.microsoft.com/office/drawing/2014/main" id="{A7F5682C-98C9-423B-98B4-E658E043C74C}"/>
              </a:ext>
            </a:extLst>
          </p:cNvPr>
          <p:cNvSpPr/>
          <p:nvPr/>
        </p:nvSpPr>
        <p:spPr>
          <a:xfrm>
            <a:off x="5250956" y="4547795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DFAC85F1-6DED-42B8-8C85-E4DFDE998169}"/>
              </a:ext>
            </a:extLst>
          </p:cNvPr>
          <p:cNvGrpSpPr/>
          <p:nvPr/>
        </p:nvGrpSpPr>
        <p:grpSpPr>
          <a:xfrm>
            <a:off x="528001" y="5324892"/>
            <a:ext cx="3458049" cy="762521"/>
            <a:chOff x="527037" y="5316716"/>
            <a:chExt cx="3458049" cy="762521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9BAA059-F300-4DD1-B82F-F64520B1617D}"/>
                </a:ext>
              </a:extLst>
            </p:cNvPr>
            <p:cNvSpPr/>
            <p:nvPr/>
          </p:nvSpPr>
          <p:spPr>
            <a:xfrm>
              <a:off x="527037" y="5316716"/>
              <a:ext cx="3458049" cy="76252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Vermarktung Kraftwerke</a:t>
              </a:r>
            </a:p>
          </p:txBody>
        </p:sp>
        <p:pic>
          <p:nvPicPr>
            <p:cNvPr id="39" name="Grafik 38" descr="Kraftwerk">
              <a:extLst>
                <a:ext uri="{FF2B5EF4-FFF2-40B4-BE49-F238E27FC236}">
                  <a16:creationId xmlns:a16="http://schemas.microsoft.com/office/drawing/2014/main" id="{F5FDB5B7-8612-4E64-A978-09B668F8B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5398" y="5612878"/>
              <a:ext cx="403279" cy="403279"/>
            </a:xfrm>
            <a:prstGeom prst="rect">
              <a:avLst/>
            </a:prstGeom>
          </p:spPr>
        </p:pic>
        <p:pic>
          <p:nvPicPr>
            <p:cNvPr id="40" name="Grafik 39" descr="Kraftwerk">
              <a:extLst>
                <a:ext uri="{FF2B5EF4-FFF2-40B4-BE49-F238E27FC236}">
                  <a16:creationId xmlns:a16="http://schemas.microsoft.com/office/drawing/2014/main" id="{44F86DAA-8C8F-42FE-B666-53185EA33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439930" y="5616831"/>
              <a:ext cx="403279" cy="403279"/>
            </a:xfrm>
            <a:prstGeom prst="rect">
              <a:avLst/>
            </a:prstGeom>
          </p:spPr>
        </p:pic>
        <p:pic>
          <p:nvPicPr>
            <p:cNvPr id="41" name="Grafik 40" descr="Kraftwerk">
              <a:extLst>
                <a:ext uri="{FF2B5EF4-FFF2-40B4-BE49-F238E27FC236}">
                  <a16:creationId xmlns:a16="http://schemas.microsoft.com/office/drawing/2014/main" id="{4331A20D-723F-4903-B20B-92B212DEB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24462" y="5616831"/>
              <a:ext cx="403279" cy="403279"/>
            </a:xfrm>
            <a:prstGeom prst="rect">
              <a:avLst/>
            </a:prstGeom>
          </p:spPr>
        </p:pic>
        <p:pic>
          <p:nvPicPr>
            <p:cNvPr id="42" name="Grafik 41" descr="Kraftwerk">
              <a:extLst>
                <a:ext uri="{FF2B5EF4-FFF2-40B4-BE49-F238E27FC236}">
                  <a16:creationId xmlns:a16="http://schemas.microsoft.com/office/drawing/2014/main" id="{CE76DB9C-96FD-49BB-91EB-96FEDC6BC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8994" y="5616831"/>
              <a:ext cx="403279" cy="4032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1584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1" grpId="0" animBg="1"/>
      <p:bldP spid="63" grpId="0"/>
      <p:bldP spid="88" grpId="0" animBg="1"/>
      <p:bldP spid="90" grpId="0"/>
      <p:bldP spid="111" grpId="0"/>
      <p:bldP spid="12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23C9BF1-4DEC-4196-B8C5-2EDEBD23304C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F0BE27-7530-4619-B5E9-5BE45E2382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369984C6-610C-4B50-AF84-0E045669262E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B6DEDB-2B25-4339-8A6B-FFAF93FE60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D3CFB3-70E6-4FD4-AA0F-8769C666FC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6</a:t>
            </a:fld>
            <a:endParaRPr lang="de-DE" alt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8F54220-DC4B-48C2-A629-36A0F28366C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Aufgabe der Agenten ist es aus dem Fahrplan (i.d.R. ein Punkt) eine Angebotskurve zu erstellen.</a:t>
            </a: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C1526818-AB38-4BB2-B368-F9CF4E0B8279}"/>
              </a:ext>
            </a:extLst>
          </p:cNvPr>
          <p:cNvGraphicFramePr>
            <a:graphicFrameLocks noGrp="1"/>
          </p:cNvGraphicFramePr>
          <p:nvPr/>
        </p:nvGraphicFramePr>
        <p:xfrm>
          <a:off x="528000" y="2475363"/>
          <a:ext cx="3458050" cy="2782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4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55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7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latin typeface="+mj-lt"/>
                        </a:rPr>
                        <a:t>Volumina</a:t>
                      </a:r>
                      <a:r>
                        <a:rPr lang="en-US" sz="1000" b="1" dirty="0">
                          <a:latin typeface="+mj-lt"/>
                        </a:rPr>
                        <a:t> MWh</a:t>
                      </a:r>
                    </a:p>
                  </a:txBody>
                  <a:tcPr marL="91452" marR="91452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2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+mj-lt"/>
                        </a:rPr>
                        <a:t>…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5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4" name="Rechteck 53">
            <a:extLst>
              <a:ext uri="{FF2B5EF4-FFF2-40B4-BE49-F238E27FC236}">
                <a16:creationId xmlns:a16="http://schemas.microsoft.com/office/drawing/2014/main" id="{05A290DE-4441-4A2A-881F-BEC5E02CA397}"/>
              </a:ext>
            </a:extLst>
          </p:cNvPr>
          <p:cNvSpPr/>
          <p:nvPr/>
        </p:nvSpPr>
        <p:spPr>
          <a:xfrm>
            <a:off x="1372580" y="2769249"/>
            <a:ext cx="720080" cy="10081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D8EDFC8-F251-421E-9CF9-FDEF62768827}"/>
              </a:ext>
            </a:extLst>
          </p:cNvPr>
          <p:cNvCxnSpPr/>
          <p:nvPr/>
        </p:nvCxnSpPr>
        <p:spPr>
          <a:xfrm>
            <a:off x="5286493" y="1990430"/>
            <a:ext cx="0" cy="3600400"/>
          </a:xfrm>
          <a:prstGeom prst="line">
            <a:avLst/>
          </a:prstGeom>
          <a:ln w="38100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2D9D366-89DB-4164-A559-550024AF2422}"/>
              </a:ext>
            </a:extLst>
          </p:cNvPr>
          <p:cNvCxnSpPr>
            <a:cxnSpLocks/>
          </p:cNvCxnSpPr>
          <p:nvPr/>
        </p:nvCxnSpPr>
        <p:spPr>
          <a:xfrm rot="16200000">
            <a:off x="6942677" y="3700379"/>
            <a:ext cx="0" cy="360040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244600B2-3CCF-44F1-AA65-4FEA322F06CB}"/>
              </a:ext>
            </a:extLst>
          </p:cNvPr>
          <p:cNvSpPr txBox="1"/>
          <p:nvPr/>
        </p:nvSpPr>
        <p:spPr>
          <a:xfrm>
            <a:off x="7954956" y="5556861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e [MWh]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F121872-1206-46A9-9C40-817938D7B122}"/>
              </a:ext>
            </a:extLst>
          </p:cNvPr>
          <p:cNvSpPr txBox="1"/>
          <p:nvPr/>
        </p:nvSpPr>
        <p:spPr>
          <a:xfrm rot="16200000">
            <a:off x="4464694" y="2468019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is [€/MWh]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D33659D8-0242-48BE-9731-3AF5606C873E}"/>
              </a:ext>
            </a:extLst>
          </p:cNvPr>
          <p:cNvSpPr/>
          <p:nvPr/>
        </p:nvSpPr>
        <p:spPr>
          <a:xfrm>
            <a:off x="7918956" y="2400391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5569EFFF-09F6-497A-BA58-C2221E87BB19}"/>
              </a:ext>
            </a:extLst>
          </p:cNvPr>
          <p:cNvSpPr txBox="1"/>
          <p:nvPr/>
        </p:nvSpPr>
        <p:spPr>
          <a:xfrm>
            <a:off x="8015219" y="2305586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100; 30)</a:t>
            </a:r>
          </a:p>
        </p:txBody>
      </p: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BE35CA2A-9069-4193-A216-61CC4C3C5D91}"/>
              </a:ext>
            </a:extLst>
          </p:cNvPr>
          <p:cNvCxnSpPr>
            <a:cxnSpLocks/>
            <a:endCxn id="61" idx="3"/>
          </p:cNvCxnSpPr>
          <p:nvPr/>
        </p:nvCxnSpPr>
        <p:spPr>
          <a:xfrm flipH="1" flipV="1">
            <a:off x="7929500" y="2461847"/>
            <a:ext cx="0" cy="3038731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511F0348-FBCB-4A69-AAE5-8B43FD0269A5}"/>
              </a:ext>
            </a:extLst>
          </p:cNvPr>
          <p:cNvCxnSpPr>
            <a:cxnSpLocks/>
          </p:cNvCxnSpPr>
          <p:nvPr/>
        </p:nvCxnSpPr>
        <p:spPr>
          <a:xfrm flipV="1">
            <a:off x="5275949" y="2448546"/>
            <a:ext cx="2643007" cy="10544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lipse 87">
            <a:extLst>
              <a:ext uri="{FF2B5EF4-FFF2-40B4-BE49-F238E27FC236}">
                <a16:creationId xmlns:a16="http://schemas.microsoft.com/office/drawing/2014/main" id="{B14F8EA4-F7BF-45DC-B05C-6E62D68F626C}"/>
              </a:ext>
            </a:extLst>
          </p:cNvPr>
          <p:cNvSpPr/>
          <p:nvPr/>
        </p:nvSpPr>
        <p:spPr>
          <a:xfrm>
            <a:off x="8492939" y="2077485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4177CF5E-345B-4D96-90C4-F4E09E539D58}"/>
              </a:ext>
            </a:extLst>
          </p:cNvPr>
          <p:cNvSpPr txBox="1"/>
          <p:nvPr/>
        </p:nvSpPr>
        <p:spPr>
          <a:xfrm>
            <a:off x="8527779" y="1978221"/>
            <a:ext cx="1265414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x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 Preis)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07438E82-FC75-4EE3-B827-8B889ECD98E7}"/>
              </a:ext>
            </a:extLst>
          </p:cNvPr>
          <p:cNvCxnSpPr>
            <a:cxnSpLocks/>
          </p:cNvCxnSpPr>
          <p:nvPr/>
        </p:nvCxnSpPr>
        <p:spPr>
          <a:xfrm>
            <a:off x="7954956" y="2109026"/>
            <a:ext cx="537983" cy="1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1569C21D-49E7-4A49-998C-8302130E3643}"/>
              </a:ext>
            </a:extLst>
          </p:cNvPr>
          <p:cNvCxnSpPr>
            <a:cxnSpLocks/>
          </p:cNvCxnSpPr>
          <p:nvPr/>
        </p:nvCxnSpPr>
        <p:spPr>
          <a:xfrm>
            <a:off x="7954956" y="2096533"/>
            <a:ext cx="0" cy="303858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aphicFrame>
        <p:nvGraphicFramePr>
          <p:cNvPr id="103" name="Tabelle 102">
            <a:extLst>
              <a:ext uri="{FF2B5EF4-FFF2-40B4-BE49-F238E27FC236}">
                <a16:creationId xmlns:a16="http://schemas.microsoft.com/office/drawing/2014/main" id="{F0AF9D87-E60E-4D3C-BC99-F6DC2EEFDDCE}"/>
              </a:ext>
            </a:extLst>
          </p:cNvPr>
          <p:cNvGraphicFramePr>
            <a:graphicFrameLocks noGrp="1"/>
          </p:cNvGraphicFramePr>
          <p:nvPr/>
        </p:nvGraphicFramePr>
        <p:xfrm>
          <a:off x="7296920" y="3684052"/>
          <a:ext cx="4100289" cy="13007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5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853199856"/>
                    </a:ext>
                  </a:extLst>
                </a:gridCol>
              </a:tblGrid>
              <a:tr h="313200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11,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13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30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i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ax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MWh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 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opt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ax-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5E50F309-751C-4328-ACA6-D5BF2E6817E8}"/>
              </a:ext>
            </a:extLst>
          </p:cNvPr>
          <p:cNvCxnSpPr/>
          <p:nvPr/>
        </p:nvCxnSpPr>
        <p:spPr>
          <a:xfrm>
            <a:off x="2419384" y="3518518"/>
            <a:ext cx="2723093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63ED23C8-25D7-44EF-BA92-A1FCBA76042A}"/>
              </a:ext>
            </a:extLst>
          </p:cNvPr>
          <p:cNvCxnSpPr>
            <a:cxnSpLocks/>
          </p:cNvCxnSpPr>
          <p:nvPr/>
        </p:nvCxnSpPr>
        <p:spPr>
          <a:xfrm>
            <a:off x="6096000" y="4005064"/>
            <a:ext cx="1200920" cy="792088"/>
          </a:xfrm>
          <a:prstGeom prst="bentConnector3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Textfeld 110">
            <a:extLst>
              <a:ext uri="{FF2B5EF4-FFF2-40B4-BE49-F238E27FC236}">
                <a16:creationId xmlns:a16="http://schemas.microsoft.com/office/drawing/2014/main" id="{7F377EF2-DD47-408D-B780-B16F8CB3107D}"/>
              </a:ext>
            </a:extLst>
          </p:cNvPr>
          <p:cNvSpPr txBox="1"/>
          <p:nvPr/>
        </p:nvSpPr>
        <p:spPr>
          <a:xfrm>
            <a:off x="5313734" y="4472178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0; 10)</a:t>
            </a:r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3C3B0088-0192-49E6-9C86-DF79BABB52E2}"/>
              </a:ext>
            </a:extLst>
          </p:cNvPr>
          <p:cNvCxnSpPr>
            <a:cxnSpLocks/>
            <a:endCxn id="61" idx="3"/>
          </p:cNvCxnSpPr>
          <p:nvPr/>
        </p:nvCxnSpPr>
        <p:spPr>
          <a:xfrm flipV="1">
            <a:off x="5282623" y="2461847"/>
            <a:ext cx="2646877" cy="2148806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2" name="Ellipse 121">
            <a:extLst>
              <a:ext uri="{FF2B5EF4-FFF2-40B4-BE49-F238E27FC236}">
                <a16:creationId xmlns:a16="http://schemas.microsoft.com/office/drawing/2014/main" id="{A7F5682C-98C9-423B-98B4-E658E043C74C}"/>
              </a:ext>
            </a:extLst>
          </p:cNvPr>
          <p:cNvSpPr/>
          <p:nvPr/>
        </p:nvSpPr>
        <p:spPr>
          <a:xfrm>
            <a:off x="5250956" y="4547795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AD05A94-3B67-4FAD-968C-747FFDC5A284}"/>
              </a:ext>
            </a:extLst>
          </p:cNvPr>
          <p:cNvCxnSpPr>
            <a:cxnSpLocks/>
            <a:endCxn id="61" idx="3"/>
          </p:cNvCxnSpPr>
          <p:nvPr/>
        </p:nvCxnSpPr>
        <p:spPr>
          <a:xfrm flipV="1">
            <a:off x="5292608" y="2461847"/>
            <a:ext cx="2636892" cy="264574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2CDDD83B-77E7-496E-8E9C-6DFD589E8B01}"/>
              </a:ext>
            </a:extLst>
          </p:cNvPr>
          <p:cNvSpPr txBox="1"/>
          <p:nvPr/>
        </p:nvSpPr>
        <p:spPr>
          <a:xfrm>
            <a:off x="4396274" y="4966095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0; 10-∆)</a:t>
            </a:r>
          </a:p>
        </p:txBody>
      </p:sp>
      <p:sp>
        <p:nvSpPr>
          <p:cNvPr id="2" name="Bogen 1">
            <a:extLst>
              <a:ext uri="{FF2B5EF4-FFF2-40B4-BE49-F238E27FC236}">
                <a16:creationId xmlns:a16="http://schemas.microsoft.com/office/drawing/2014/main" id="{E78D056E-F552-4602-A870-9A7235DDFCA5}"/>
              </a:ext>
            </a:extLst>
          </p:cNvPr>
          <p:cNvSpPr/>
          <p:nvPr/>
        </p:nvSpPr>
        <p:spPr>
          <a:xfrm>
            <a:off x="5217618" y="5008106"/>
            <a:ext cx="220768" cy="245081"/>
          </a:xfrm>
          <a:prstGeom prst="arc">
            <a:avLst>
              <a:gd name="adj1" fmla="val 17183271"/>
              <a:gd name="adj2" fmla="val 6023807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34973EB-6338-48E8-85E1-B736A017D95C}"/>
              </a:ext>
            </a:extLst>
          </p:cNvPr>
          <p:cNvSpPr txBox="1"/>
          <p:nvPr/>
        </p:nvSpPr>
        <p:spPr>
          <a:xfrm>
            <a:off x="5453538" y="5022474"/>
            <a:ext cx="936103" cy="20005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7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ktion</a:t>
            </a: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58B028E2-E2EE-4B22-A824-D5DFAF5A139F}"/>
              </a:ext>
            </a:extLst>
          </p:cNvPr>
          <p:cNvGrpSpPr/>
          <p:nvPr/>
        </p:nvGrpSpPr>
        <p:grpSpPr>
          <a:xfrm>
            <a:off x="528001" y="5324892"/>
            <a:ext cx="3458049" cy="762521"/>
            <a:chOff x="527037" y="5316716"/>
            <a:chExt cx="3458049" cy="762521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C145335A-E0B4-4D42-AD49-854197FF81E5}"/>
                </a:ext>
              </a:extLst>
            </p:cNvPr>
            <p:cNvSpPr/>
            <p:nvPr/>
          </p:nvSpPr>
          <p:spPr>
            <a:xfrm>
              <a:off x="527037" y="5316716"/>
              <a:ext cx="3458049" cy="76252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Vermarktung Kraftwerke</a:t>
              </a:r>
            </a:p>
          </p:txBody>
        </p:sp>
        <p:pic>
          <p:nvPicPr>
            <p:cNvPr id="39" name="Grafik 38" descr="Kraftwerk">
              <a:extLst>
                <a:ext uri="{FF2B5EF4-FFF2-40B4-BE49-F238E27FC236}">
                  <a16:creationId xmlns:a16="http://schemas.microsoft.com/office/drawing/2014/main" id="{BD376A1D-F5CC-4345-BD60-900705E45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5398" y="5612878"/>
              <a:ext cx="403279" cy="403279"/>
            </a:xfrm>
            <a:prstGeom prst="rect">
              <a:avLst/>
            </a:prstGeom>
          </p:spPr>
        </p:pic>
        <p:pic>
          <p:nvPicPr>
            <p:cNvPr id="40" name="Grafik 39" descr="Kraftwerk">
              <a:extLst>
                <a:ext uri="{FF2B5EF4-FFF2-40B4-BE49-F238E27FC236}">
                  <a16:creationId xmlns:a16="http://schemas.microsoft.com/office/drawing/2014/main" id="{9954F5EC-AB6D-4F52-85CF-1959EAF81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439930" y="5616831"/>
              <a:ext cx="403279" cy="403279"/>
            </a:xfrm>
            <a:prstGeom prst="rect">
              <a:avLst/>
            </a:prstGeom>
          </p:spPr>
        </p:pic>
        <p:pic>
          <p:nvPicPr>
            <p:cNvPr id="41" name="Grafik 40" descr="Kraftwerk">
              <a:extLst>
                <a:ext uri="{FF2B5EF4-FFF2-40B4-BE49-F238E27FC236}">
                  <a16:creationId xmlns:a16="http://schemas.microsoft.com/office/drawing/2014/main" id="{76F6CB28-B717-4033-B9EF-6E95BE014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24462" y="5616831"/>
              <a:ext cx="403279" cy="403279"/>
            </a:xfrm>
            <a:prstGeom prst="rect">
              <a:avLst/>
            </a:prstGeom>
          </p:spPr>
        </p:pic>
        <p:pic>
          <p:nvPicPr>
            <p:cNvPr id="42" name="Grafik 41" descr="Kraftwerk">
              <a:extLst>
                <a:ext uri="{FF2B5EF4-FFF2-40B4-BE49-F238E27FC236}">
                  <a16:creationId xmlns:a16="http://schemas.microsoft.com/office/drawing/2014/main" id="{22854111-428E-490D-92EA-99F67CECB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8994" y="5616831"/>
              <a:ext cx="403279" cy="4032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249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23C9BF1-4DEC-4196-B8C5-2EDEBD23304C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F0BE27-7530-4619-B5E9-5BE45E2382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C1136BF-E506-4C45-9A79-BD5CD17577E7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B6DEDB-2B25-4339-8A6B-FFAF93FE60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D3CFB3-70E6-4FD4-AA0F-8769C666FC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7</a:t>
            </a:fld>
            <a:endParaRPr lang="de-DE" alt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8F54220-DC4B-48C2-A629-36A0F28366C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Pumpspeicherkraftwerke werden nicht durch die Vermarktungsstrategie der Agenten beeinflusst und immer nach dem gleichen Schema vermarktet.</a:t>
            </a: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C1526818-AB38-4BB2-B368-F9CF4E0B8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444699"/>
              </p:ext>
            </p:extLst>
          </p:nvPr>
        </p:nvGraphicFramePr>
        <p:xfrm>
          <a:off x="528000" y="2475363"/>
          <a:ext cx="3458050" cy="2782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4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55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latin typeface="+mj-lt"/>
                        </a:rPr>
                        <a:t>Volumina</a:t>
                      </a:r>
                      <a:r>
                        <a:rPr lang="en-US" sz="1000" b="1" dirty="0">
                          <a:latin typeface="+mj-lt"/>
                        </a:rPr>
                        <a:t> MWh</a:t>
                      </a:r>
                    </a:p>
                  </a:txBody>
                  <a:tcPr marL="91452" marR="91452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-10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+mj-lt"/>
                        </a:rPr>
                        <a:t>…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-10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F58B77D-EA2F-40E4-B664-7666B36261A9}"/>
              </a:ext>
            </a:extLst>
          </p:cNvPr>
          <p:cNvGrpSpPr/>
          <p:nvPr/>
        </p:nvGrpSpPr>
        <p:grpSpPr>
          <a:xfrm>
            <a:off x="8170655" y="2224156"/>
            <a:ext cx="3248594" cy="3284913"/>
            <a:chOff x="4924260" y="1911060"/>
            <a:chExt cx="3953979" cy="3998184"/>
          </a:xfrm>
        </p:grpSpPr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6D8EDFC8-F251-421E-9CF9-FDEF62768827}"/>
                </a:ext>
              </a:extLst>
            </p:cNvPr>
            <p:cNvCxnSpPr/>
            <p:nvPr/>
          </p:nvCxnSpPr>
          <p:spPr>
            <a:xfrm>
              <a:off x="5286493" y="1990430"/>
              <a:ext cx="0" cy="3600400"/>
            </a:xfrm>
            <a:prstGeom prst="line">
              <a:avLst/>
            </a:prstGeom>
            <a:ln w="381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82D9D366-89DB-4164-A559-550024AF242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942677" y="3700379"/>
              <a:ext cx="0" cy="3600400"/>
            </a:xfrm>
            <a:prstGeom prst="line">
              <a:avLst/>
            </a:prstGeom>
            <a:ln w="381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244600B2-3CCF-44F1-AA65-4FEA322F06CB}"/>
                </a:ext>
              </a:extLst>
            </p:cNvPr>
            <p:cNvSpPr txBox="1"/>
            <p:nvPr/>
          </p:nvSpPr>
          <p:spPr>
            <a:xfrm>
              <a:off x="7428320" y="5590829"/>
              <a:ext cx="1449919" cy="318415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1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nge [MWh]</a:t>
              </a: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6F121872-1206-46A9-9C40-817938D7B122}"/>
                </a:ext>
              </a:extLst>
            </p:cNvPr>
            <p:cNvSpPr txBox="1"/>
            <p:nvPr/>
          </p:nvSpPr>
          <p:spPr>
            <a:xfrm rot="16200000">
              <a:off x="4341034" y="2494286"/>
              <a:ext cx="1484867" cy="318415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1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 [€/MWh]</a:t>
              </a:r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D33659D8-0242-48BE-9731-3AF5606C873E}"/>
                </a:ext>
              </a:extLst>
            </p:cNvPr>
            <p:cNvSpPr/>
            <p:nvPr/>
          </p:nvSpPr>
          <p:spPr>
            <a:xfrm>
              <a:off x="7990632" y="5058388"/>
              <a:ext cx="72000" cy="7200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FDDCC10D-8B54-4C26-81EC-2A89840ADA6F}"/>
                </a:ext>
              </a:extLst>
            </p:cNvPr>
            <p:cNvCxnSpPr>
              <a:cxnSpLocks/>
              <a:stCxn id="109" idx="6"/>
              <a:endCxn id="61" idx="2"/>
            </p:cNvCxnSpPr>
            <p:nvPr/>
          </p:nvCxnSpPr>
          <p:spPr>
            <a:xfrm>
              <a:off x="5330222" y="3851736"/>
              <a:ext cx="2660410" cy="1242653"/>
            </a:xfrm>
            <a:prstGeom prst="line">
              <a:avLst/>
            </a:prstGeom>
            <a:ln w="28575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9" name="Ellipse 108">
              <a:extLst>
                <a:ext uri="{FF2B5EF4-FFF2-40B4-BE49-F238E27FC236}">
                  <a16:creationId xmlns:a16="http://schemas.microsoft.com/office/drawing/2014/main" id="{135A7115-38AA-4F7D-8029-3CE6B65EAFF4}"/>
                </a:ext>
              </a:extLst>
            </p:cNvPr>
            <p:cNvSpPr/>
            <p:nvPr/>
          </p:nvSpPr>
          <p:spPr>
            <a:xfrm>
              <a:off x="5258223" y="3815736"/>
              <a:ext cx="72000" cy="7200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5E4F079-8D28-4547-BC4F-EF3E7E116DF6}"/>
              </a:ext>
            </a:extLst>
          </p:cNvPr>
          <p:cNvGrpSpPr/>
          <p:nvPr/>
        </p:nvGrpSpPr>
        <p:grpSpPr>
          <a:xfrm>
            <a:off x="4583832" y="2224156"/>
            <a:ext cx="3248594" cy="3284913"/>
            <a:chOff x="4924260" y="1911060"/>
            <a:chExt cx="3953979" cy="3998184"/>
          </a:xfrm>
        </p:grpSpPr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8FA2B8DA-D277-4C23-9C3B-042AA65ED141}"/>
                </a:ext>
              </a:extLst>
            </p:cNvPr>
            <p:cNvCxnSpPr/>
            <p:nvPr/>
          </p:nvCxnSpPr>
          <p:spPr>
            <a:xfrm>
              <a:off x="5286493" y="1990430"/>
              <a:ext cx="0" cy="3600400"/>
            </a:xfrm>
            <a:prstGeom prst="line">
              <a:avLst/>
            </a:prstGeom>
            <a:ln w="38100">
              <a:headEnd type="triangl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FD734F09-4C88-4170-A1CC-80B76FFB526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942677" y="3700379"/>
              <a:ext cx="0" cy="3600400"/>
            </a:xfrm>
            <a:prstGeom prst="line">
              <a:avLst/>
            </a:prstGeom>
            <a:ln w="38100">
              <a:headEnd type="none" w="med" len="med"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B9863DA-43C0-40BD-B6B0-1940372F8684}"/>
                </a:ext>
              </a:extLst>
            </p:cNvPr>
            <p:cNvSpPr txBox="1"/>
            <p:nvPr/>
          </p:nvSpPr>
          <p:spPr>
            <a:xfrm>
              <a:off x="8271592" y="5590829"/>
              <a:ext cx="606647" cy="318415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1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[#]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1A362D57-D020-4D5F-B01C-0108ACFC87A5}"/>
                </a:ext>
              </a:extLst>
            </p:cNvPr>
            <p:cNvSpPr txBox="1"/>
            <p:nvPr/>
          </p:nvSpPr>
          <p:spPr>
            <a:xfrm rot="16200000">
              <a:off x="4341034" y="2494286"/>
              <a:ext cx="1484867" cy="318415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1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 [€/MWh]</a:t>
              </a:r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DB9A1F9C-42F8-46B0-A9F7-D168F36A8FD4}"/>
                </a:ext>
              </a:extLst>
            </p:cNvPr>
            <p:cNvSpPr/>
            <p:nvPr/>
          </p:nvSpPr>
          <p:spPr>
            <a:xfrm>
              <a:off x="5258223" y="4625056"/>
              <a:ext cx="72000" cy="7200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Ellipse 2">
            <a:extLst>
              <a:ext uri="{FF2B5EF4-FFF2-40B4-BE49-F238E27FC236}">
                <a16:creationId xmlns:a16="http://schemas.microsoft.com/office/drawing/2014/main" id="{B05C546A-F395-476D-8B84-E726E37F28EF}"/>
              </a:ext>
            </a:extLst>
          </p:cNvPr>
          <p:cNvSpPr/>
          <p:nvPr/>
        </p:nvSpPr>
        <p:spPr>
          <a:xfrm>
            <a:off x="5580559" y="4120349"/>
            <a:ext cx="59155" cy="591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3C67DBB2-CCAC-4C89-8CA7-FEAD4CC8D48B}"/>
              </a:ext>
            </a:extLst>
          </p:cNvPr>
          <p:cNvSpPr/>
          <p:nvPr/>
        </p:nvSpPr>
        <p:spPr>
          <a:xfrm>
            <a:off x="6296745" y="3771580"/>
            <a:ext cx="59155" cy="591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C6FB0DD4-AB5E-4D2F-89C5-347C1E33D5A8}"/>
              </a:ext>
            </a:extLst>
          </p:cNvPr>
          <p:cNvSpPr/>
          <p:nvPr/>
        </p:nvSpPr>
        <p:spPr>
          <a:xfrm>
            <a:off x="7024915" y="3429000"/>
            <a:ext cx="59155" cy="591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2272535-69D8-4562-9414-DBB4AC6ED37D}"/>
              </a:ext>
            </a:extLst>
          </p:cNvPr>
          <p:cNvSpPr txBox="1"/>
          <p:nvPr/>
        </p:nvSpPr>
        <p:spPr>
          <a:xfrm>
            <a:off x="4785512" y="4445299"/>
            <a:ext cx="4984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3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EBC6C81-155E-4CB1-9739-3A1D39B67A00}"/>
              </a:ext>
            </a:extLst>
          </p:cNvPr>
          <p:cNvSpPr txBox="1"/>
          <p:nvPr/>
        </p:nvSpPr>
        <p:spPr>
          <a:xfrm>
            <a:off x="5359961" y="4154455"/>
            <a:ext cx="4984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40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5FC3A0E-4F94-4346-BD53-AE096C523964}"/>
              </a:ext>
            </a:extLst>
          </p:cNvPr>
          <p:cNvSpPr txBox="1"/>
          <p:nvPr/>
        </p:nvSpPr>
        <p:spPr>
          <a:xfrm>
            <a:off x="6082245" y="3801157"/>
            <a:ext cx="4984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45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3A7C3A1-BEC8-43AC-B4F2-00BE4F5991D0}"/>
              </a:ext>
            </a:extLst>
          </p:cNvPr>
          <p:cNvSpPr txBox="1"/>
          <p:nvPr/>
        </p:nvSpPr>
        <p:spPr>
          <a:xfrm>
            <a:off x="6805282" y="3475849"/>
            <a:ext cx="4984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50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0745883-894C-4536-BF4A-9A9EA20B716D}"/>
              </a:ext>
            </a:extLst>
          </p:cNvPr>
          <p:cNvCxnSpPr>
            <a:cxnSpLocks/>
            <a:stCxn id="50" idx="6"/>
            <a:endCxn id="9" idx="2"/>
          </p:cNvCxnSpPr>
          <p:nvPr/>
        </p:nvCxnSpPr>
        <p:spPr>
          <a:xfrm flipV="1">
            <a:off x="4917371" y="3458578"/>
            <a:ext cx="2107544" cy="10249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790EEFF3-ECB8-451F-BECA-F96EA6AAC055}"/>
              </a:ext>
            </a:extLst>
          </p:cNvPr>
          <p:cNvSpPr/>
          <p:nvPr/>
        </p:nvSpPr>
        <p:spPr>
          <a:xfrm>
            <a:off x="1372580" y="2769249"/>
            <a:ext cx="2620236" cy="5157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9" name="Verbinder: gewinkelt 78">
            <a:extLst>
              <a:ext uri="{FF2B5EF4-FFF2-40B4-BE49-F238E27FC236}">
                <a16:creationId xmlns:a16="http://schemas.microsoft.com/office/drawing/2014/main" id="{90DDE95E-6F4F-4D9B-9D50-2B4881271924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3992816" y="3027117"/>
            <a:ext cx="1067165" cy="868348"/>
          </a:xfrm>
          <a:prstGeom prst="bentConnector3">
            <a:avLst>
              <a:gd name="adj1" fmla="val 45716"/>
            </a:avLst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Textfeld 83">
            <a:extLst>
              <a:ext uri="{FF2B5EF4-FFF2-40B4-BE49-F238E27FC236}">
                <a16:creationId xmlns:a16="http://schemas.microsoft.com/office/drawing/2014/main" id="{8C66FC4A-7DEF-4EEF-9166-67571ECC1148}"/>
              </a:ext>
            </a:extLst>
          </p:cNvPr>
          <p:cNvSpPr txBox="1"/>
          <p:nvPr/>
        </p:nvSpPr>
        <p:spPr>
          <a:xfrm>
            <a:off x="5173758" y="4320602"/>
            <a:ext cx="873929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aximaler </a:t>
            </a:r>
            <a:b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ufpreis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0C1AF58D-CF02-42CA-B976-10E8F5802848}"/>
              </a:ext>
            </a:extLst>
          </p:cNvPr>
          <p:cNvSpPr txBox="1"/>
          <p:nvPr/>
        </p:nvSpPr>
        <p:spPr>
          <a:xfrm>
            <a:off x="5850141" y="4046178"/>
            <a:ext cx="961322" cy="46166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nimaler </a:t>
            </a:r>
            <a:b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kaufspreis</a:t>
            </a:r>
          </a:p>
        </p:txBody>
      </p: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859BD77A-D11A-4DA6-9EC0-C3250C62F49A}"/>
              </a:ext>
            </a:extLst>
          </p:cNvPr>
          <p:cNvCxnSpPr>
            <a:cxnSpLocks/>
            <a:stCxn id="109" idx="6"/>
            <a:endCxn id="93" idx="2"/>
          </p:cNvCxnSpPr>
          <p:nvPr/>
        </p:nvCxnSpPr>
        <p:spPr>
          <a:xfrm>
            <a:off x="8504194" y="3818618"/>
            <a:ext cx="2213171" cy="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3" name="Ellipse 92">
            <a:extLst>
              <a:ext uri="{FF2B5EF4-FFF2-40B4-BE49-F238E27FC236}">
                <a16:creationId xmlns:a16="http://schemas.microsoft.com/office/drawing/2014/main" id="{3B55C666-A658-4318-A51F-9BA1F9D416B2}"/>
              </a:ext>
            </a:extLst>
          </p:cNvPr>
          <p:cNvSpPr/>
          <p:nvPr/>
        </p:nvSpPr>
        <p:spPr>
          <a:xfrm>
            <a:off x="10717365" y="3789040"/>
            <a:ext cx="59155" cy="59155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08EE7372-E29E-4FED-8FF5-72CC870DC0E4}"/>
              </a:ext>
            </a:extLst>
          </p:cNvPr>
          <p:cNvSpPr txBox="1"/>
          <p:nvPr/>
        </p:nvSpPr>
        <p:spPr>
          <a:xfrm>
            <a:off x="8867469" y="4341143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nde 1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448C018D-381A-401D-9F94-F70F7FB3E2F3}"/>
              </a:ext>
            </a:extLst>
          </p:cNvPr>
          <p:cNvSpPr txBox="1"/>
          <p:nvPr/>
        </p:nvSpPr>
        <p:spPr>
          <a:xfrm>
            <a:off x="9247925" y="3593131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nde 2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1D405BB6-8ED0-49A6-9087-ADB33D881F06}"/>
              </a:ext>
            </a:extLst>
          </p:cNvPr>
          <p:cNvSpPr txBox="1"/>
          <p:nvPr/>
        </p:nvSpPr>
        <p:spPr>
          <a:xfrm>
            <a:off x="10236704" y="4846797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75FBF2DB-3609-4DD3-8089-7627E68ADE80}"/>
              </a:ext>
            </a:extLst>
          </p:cNvPr>
          <p:cNvSpPr txBox="1"/>
          <p:nvPr/>
        </p:nvSpPr>
        <p:spPr>
          <a:xfrm>
            <a:off x="8151235" y="3601474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93CE811B-9863-4722-935B-437F2B0CCC34}"/>
              </a:ext>
            </a:extLst>
          </p:cNvPr>
          <p:cNvSpPr txBox="1"/>
          <p:nvPr/>
        </p:nvSpPr>
        <p:spPr>
          <a:xfrm>
            <a:off x="10266281" y="3861628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</a:t>
            </a:r>
          </a:p>
        </p:txBody>
      </p: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936B5DBE-8495-4871-B8CF-57CBE49E751D}"/>
              </a:ext>
            </a:extLst>
          </p:cNvPr>
          <p:cNvCxnSpPr>
            <a:cxnSpLocks/>
            <a:endCxn id="118" idx="2"/>
          </p:cNvCxnSpPr>
          <p:nvPr/>
        </p:nvCxnSpPr>
        <p:spPr>
          <a:xfrm flipV="1">
            <a:off x="8474616" y="3413907"/>
            <a:ext cx="2242749" cy="724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8" name="Ellipse 117">
            <a:extLst>
              <a:ext uri="{FF2B5EF4-FFF2-40B4-BE49-F238E27FC236}">
                <a16:creationId xmlns:a16="http://schemas.microsoft.com/office/drawing/2014/main" id="{5378B556-0307-474D-AD76-E49CC8660275}"/>
              </a:ext>
            </a:extLst>
          </p:cNvPr>
          <p:cNvSpPr/>
          <p:nvPr/>
        </p:nvSpPr>
        <p:spPr>
          <a:xfrm>
            <a:off x="10717365" y="3384329"/>
            <a:ext cx="59155" cy="59155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7FC40FB7-7F73-4292-9913-1921A7E80C23}"/>
              </a:ext>
            </a:extLst>
          </p:cNvPr>
          <p:cNvSpPr txBox="1"/>
          <p:nvPr/>
        </p:nvSpPr>
        <p:spPr>
          <a:xfrm>
            <a:off x="9248468" y="3190350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nde 3</a:t>
            </a: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2848C44B-3D63-4A97-A242-81D3388449B5}"/>
              </a:ext>
            </a:extLst>
          </p:cNvPr>
          <p:cNvSpPr/>
          <p:nvPr/>
        </p:nvSpPr>
        <p:spPr>
          <a:xfrm>
            <a:off x="8437419" y="3384329"/>
            <a:ext cx="59155" cy="59155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A8F19E60-8047-4CD8-9BB2-0609367871F3}"/>
              </a:ext>
            </a:extLst>
          </p:cNvPr>
          <p:cNvSpPr txBox="1"/>
          <p:nvPr/>
        </p:nvSpPr>
        <p:spPr>
          <a:xfrm>
            <a:off x="10266281" y="3457941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5</a:t>
            </a:r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604A35C7-B60D-4FC9-A0D5-EC9004DC167E}"/>
              </a:ext>
            </a:extLst>
          </p:cNvPr>
          <p:cNvSpPr txBox="1"/>
          <p:nvPr/>
        </p:nvSpPr>
        <p:spPr>
          <a:xfrm>
            <a:off x="8151235" y="3410573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5</a:t>
            </a:r>
          </a:p>
        </p:txBody>
      </p:sp>
      <p:cxnSp>
        <p:nvCxnSpPr>
          <p:cNvPr id="127" name="Gerader Verbinder 126">
            <a:extLst>
              <a:ext uri="{FF2B5EF4-FFF2-40B4-BE49-F238E27FC236}">
                <a16:creationId xmlns:a16="http://schemas.microsoft.com/office/drawing/2014/main" id="{E4C8AAB0-1FA8-473B-8C78-F82A08C33876}"/>
              </a:ext>
            </a:extLst>
          </p:cNvPr>
          <p:cNvCxnSpPr>
            <a:cxnSpLocks/>
            <a:stCxn id="124" idx="7"/>
            <a:endCxn id="128" idx="2"/>
          </p:cNvCxnSpPr>
          <p:nvPr/>
        </p:nvCxnSpPr>
        <p:spPr>
          <a:xfrm flipV="1">
            <a:off x="8487911" y="2535327"/>
            <a:ext cx="2255932" cy="857665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8" name="Ellipse 127">
            <a:extLst>
              <a:ext uri="{FF2B5EF4-FFF2-40B4-BE49-F238E27FC236}">
                <a16:creationId xmlns:a16="http://schemas.microsoft.com/office/drawing/2014/main" id="{2F4B53BD-9AC9-47AD-BECC-3B7041D6934A}"/>
              </a:ext>
            </a:extLst>
          </p:cNvPr>
          <p:cNvSpPr/>
          <p:nvPr/>
        </p:nvSpPr>
        <p:spPr>
          <a:xfrm>
            <a:off x="10743843" y="2505749"/>
            <a:ext cx="59155" cy="59155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1" name="Textfeld 130">
            <a:extLst>
              <a:ext uri="{FF2B5EF4-FFF2-40B4-BE49-F238E27FC236}">
                <a16:creationId xmlns:a16="http://schemas.microsoft.com/office/drawing/2014/main" id="{8EEEC318-4ED8-4901-B467-7425F9A14BE1}"/>
              </a:ext>
            </a:extLst>
          </p:cNvPr>
          <p:cNvSpPr txBox="1"/>
          <p:nvPr/>
        </p:nvSpPr>
        <p:spPr>
          <a:xfrm>
            <a:off x="8866394" y="2781508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nde 4</a:t>
            </a: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627AAA43-A834-4EC6-A6FF-A0A19763F13E}"/>
              </a:ext>
            </a:extLst>
          </p:cNvPr>
          <p:cNvSpPr txBox="1"/>
          <p:nvPr/>
        </p:nvSpPr>
        <p:spPr>
          <a:xfrm>
            <a:off x="10292760" y="2600257"/>
            <a:ext cx="961322" cy="21544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728464D2-3104-4375-A772-87AFD1F60D1E}"/>
              </a:ext>
            </a:extLst>
          </p:cNvPr>
          <p:cNvCxnSpPr>
            <a:cxnSpLocks/>
          </p:cNvCxnSpPr>
          <p:nvPr/>
        </p:nvCxnSpPr>
        <p:spPr>
          <a:xfrm flipV="1">
            <a:off x="7032104" y="3887845"/>
            <a:ext cx="1152000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50F14A16-FA71-4DE8-80CD-FB2DFB451390}"/>
              </a:ext>
            </a:extLst>
          </p:cNvPr>
          <p:cNvSpPr/>
          <p:nvPr/>
        </p:nvSpPr>
        <p:spPr>
          <a:xfrm>
            <a:off x="527037" y="5316716"/>
            <a:ext cx="3458049" cy="7625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Vermarktung Speicher</a:t>
            </a:r>
          </a:p>
        </p:txBody>
      </p:sp>
      <p:pic>
        <p:nvPicPr>
          <p:cNvPr id="7" name="Picture 2" descr="VERBUND-Pumpspeicherkraftwerke">
            <a:extLst>
              <a:ext uri="{FF2B5EF4-FFF2-40B4-BE49-F238E27FC236}">
                <a16:creationId xmlns:a16="http://schemas.microsoft.com/office/drawing/2014/main" id="{CB340D1B-38BC-46A3-AEDE-7A39DEA3A6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511" y="5599277"/>
            <a:ext cx="429708" cy="42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VERBUND-Pumpspeicherkraftwerke">
            <a:extLst>
              <a:ext uri="{FF2B5EF4-FFF2-40B4-BE49-F238E27FC236}">
                <a16:creationId xmlns:a16="http://schemas.microsoft.com/office/drawing/2014/main" id="{8FBB08A2-DD48-451A-A688-00E6E2670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682" y="5605348"/>
            <a:ext cx="429708" cy="42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VERBUND-Pumpspeicherkraftwerke">
            <a:extLst>
              <a:ext uri="{FF2B5EF4-FFF2-40B4-BE49-F238E27FC236}">
                <a16:creationId xmlns:a16="http://schemas.microsoft.com/office/drawing/2014/main" id="{7A6FB076-1746-462E-9442-939EC042A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606" y="5599277"/>
            <a:ext cx="429708" cy="42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VERBUND-Pumpspeicherkraftwerke">
            <a:extLst>
              <a:ext uri="{FF2B5EF4-FFF2-40B4-BE49-F238E27FC236}">
                <a16:creationId xmlns:a16="http://schemas.microsoft.com/office/drawing/2014/main" id="{B1D2A9CD-7F97-442F-A5B3-757B5927F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530" y="5599277"/>
            <a:ext cx="429708" cy="42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3784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A71D1AB-477A-42B3-A88F-AFB6391E3BC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AACC76-69E0-45E5-8DA6-DB7773D4821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161C9B7A-11DE-4C0D-A2BD-7EB7C79C55DA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E980E-1C2E-4802-9FEA-2AAD4B91F8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E6B366-A7A8-48A5-B418-349674F737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8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1B4CE0-2895-42A4-872A-9BB903600A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Agenten wählen je nach Einschätzung der Marktsituation die entsprechende Vermarktungsstrategie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15B5C1-E023-476E-AB6B-AF2F677CC08C}"/>
              </a:ext>
            </a:extLst>
          </p:cNvPr>
          <p:cNvSpPr/>
          <p:nvPr/>
        </p:nvSpPr>
        <p:spPr>
          <a:xfrm>
            <a:off x="571065" y="3514082"/>
            <a:ext cx="2068551" cy="146485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/>
              <a:t>PWP</a:t>
            </a:r>
          </a:p>
          <a:p>
            <a:pPr algn="ctr"/>
            <a:r>
              <a:rPr lang="de-DE" sz="1400" dirty="0"/>
              <a:t>Agent</a:t>
            </a:r>
          </a:p>
        </p:txBody>
      </p:sp>
      <p:cxnSp>
        <p:nvCxnSpPr>
          <p:cNvPr id="26" name="Gewinkelter Verbinder 32">
            <a:extLst>
              <a:ext uri="{FF2B5EF4-FFF2-40B4-BE49-F238E27FC236}">
                <a16:creationId xmlns:a16="http://schemas.microsoft.com/office/drawing/2014/main" id="{9FCFEBA8-67BA-484F-B0A9-5F034426BC77}"/>
              </a:ext>
            </a:extLst>
          </p:cNvPr>
          <p:cNvCxnSpPr>
            <a:cxnSpLocks/>
            <a:stCxn id="37" idx="2"/>
            <a:endCxn id="31" idx="2"/>
          </p:cNvCxnSpPr>
          <p:nvPr/>
        </p:nvCxnSpPr>
        <p:spPr>
          <a:xfrm rot="5400000" flipH="1">
            <a:off x="5976067" y="590072"/>
            <a:ext cx="17937" cy="8759797"/>
          </a:xfrm>
          <a:prstGeom prst="bentConnector3">
            <a:avLst>
              <a:gd name="adj1" fmla="val -3387083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22884534-C9F7-4A56-A1D3-E1E73D0B4A64}"/>
              </a:ext>
            </a:extLst>
          </p:cNvPr>
          <p:cNvSpPr txBox="1"/>
          <p:nvPr/>
        </p:nvSpPr>
        <p:spPr>
          <a:xfrm>
            <a:off x="3716182" y="5678710"/>
            <a:ext cx="4759636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lohnung des Agent durch Gewinne bzw. 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zuschlagte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ebot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92FF566-BD01-4B41-9456-F770B37AB2D6}"/>
              </a:ext>
            </a:extLst>
          </p:cNvPr>
          <p:cNvSpPr txBox="1"/>
          <p:nvPr/>
        </p:nvSpPr>
        <p:spPr>
          <a:xfrm>
            <a:off x="4982825" y="4310528"/>
            <a:ext cx="2034531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iel: 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winnmaximier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CF10B24-5692-4E4E-B6A9-B42BD02C5078}"/>
              </a:ext>
            </a:extLst>
          </p:cNvPr>
          <p:cNvSpPr txBox="1"/>
          <p:nvPr/>
        </p:nvSpPr>
        <p:spPr>
          <a:xfrm>
            <a:off x="939511" y="4622447"/>
            <a:ext cx="1331251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Wiederholungen zur Strategieentwicklung 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2E6B07-7F16-43D0-A469-B9B86EBA8232}"/>
              </a:ext>
            </a:extLst>
          </p:cNvPr>
          <p:cNvSpPr/>
          <p:nvPr/>
        </p:nvSpPr>
        <p:spPr>
          <a:xfrm>
            <a:off x="9330658" y="3547918"/>
            <a:ext cx="2068551" cy="14310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dirty="0" err="1"/>
              <a:t>DayAhead</a:t>
            </a:r>
            <a:r>
              <a:rPr lang="de-DE" sz="1400" dirty="0"/>
              <a:t> Markt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45A4A20C-ED1D-4A79-BD5A-C585B2E17DEB}"/>
              </a:ext>
            </a:extLst>
          </p:cNvPr>
          <p:cNvCxnSpPr>
            <a:cxnSpLocks/>
            <a:stCxn id="8" idx="3"/>
            <a:endCxn id="37" idx="1"/>
          </p:cNvCxnSpPr>
          <p:nvPr/>
        </p:nvCxnSpPr>
        <p:spPr>
          <a:xfrm>
            <a:off x="2639616" y="4246510"/>
            <a:ext cx="6691042" cy="1691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8124B16-027F-4910-ACED-5ECDB5F19512}"/>
              </a:ext>
            </a:extLst>
          </p:cNvPr>
          <p:cNvGrpSpPr/>
          <p:nvPr/>
        </p:nvGrpSpPr>
        <p:grpSpPr>
          <a:xfrm>
            <a:off x="3935760" y="2505243"/>
            <a:ext cx="4320480" cy="1611291"/>
            <a:chOff x="2999656" y="1988840"/>
            <a:chExt cx="5976664" cy="2228952"/>
          </a:xfrm>
        </p:grpSpPr>
        <p:grpSp>
          <p:nvGrpSpPr>
            <p:cNvPr id="133" name="Gruppieren 132">
              <a:extLst>
                <a:ext uri="{FF2B5EF4-FFF2-40B4-BE49-F238E27FC236}">
                  <a16:creationId xmlns:a16="http://schemas.microsoft.com/office/drawing/2014/main" id="{F29A2CF9-F98C-4F88-A9E6-DB1E50E2C236}"/>
                </a:ext>
              </a:extLst>
            </p:cNvPr>
            <p:cNvGrpSpPr/>
            <p:nvPr/>
          </p:nvGrpSpPr>
          <p:grpSpPr>
            <a:xfrm>
              <a:off x="2999656" y="1988840"/>
              <a:ext cx="5976664" cy="2228952"/>
              <a:chOff x="2999656" y="1988840"/>
              <a:chExt cx="5976664" cy="2228952"/>
            </a:xfrm>
          </p:grpSpPr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85A978FC-250D-433A-B2B5-2791A9D024D7}"/>
                  </a:ext>
                </a:extLst>
              </p:cNvPr>
              <p:cNvSpPr txBox="1"/>
              <p:nvPr/>
            </p:nvSpPr>
            <p:spPr>
              <a:xfrm>
                <a:off x="3489540" y="2019780"/>
                <a:ext cx="1004965" cy="319317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ktion 1</a:t>
                </a:r>
              </a:p>
            </p:txBody>
          </p:sp>
          <p:grpSp>
            <p:nvGrpSpPr>
              <p:cNvPr id="57" name="Gruppieren 56">
                <a:extLst>
                  <a:ext uri="{FF2B5EF4-FFF2-40B4-BE49-F238E27FC236}">
                    <a16:creationId xmlns:a16="http://schemas.microsoft.com/office/drawing/2014/main" id="{C8A6F27A-CF51-4A24-A609-918E53612BFE}"/>
                  </a:ext>
                </a:extLst>
              </p:cNvPr>
              <p:cNvGrpSpPr/>
              <p:nvPr/>
            </p:nvGrpSpPr>
            <p:grpSpPr>
              <a:xfrm>
                <a:off x="3108873" y="2477752"/>
                <a:ext cx="1686328" cy="1740040"/>
                <a:chOff x="4671003" y="1990430"/>
                <a:chExt cx="4144741" cy="4276764"/>
              </a:xfrm>
            </p:grpSpPr>
            <p:cxnSp>
              <p:nvCxnSpPr>
                <p:cNvPr id="58" name="Gerader Verbinder 57">
                  <a:extLst>
                    <a:ext uri="{FF2B5EF4-FFF2-40B4-BE49-F238E27FC236}">
                      <a16:creationId xmlns:a16="http://schemas.microsoft.com/office/drawing/2014/main" id="{42164207-5E66-4F89-A08B-540F76A7C932}"/>
                    </a:ext>
                  </a:extLst>
                </p:cNvPr>
                <p:cNvCxnSpPr/>
                <p:nvPr/>
              </p:nvCxnSpPr>
              <p:spPr>
                <a:xfrm>
                  <a:off x="5286493" y="1990430"/>
                  <a:ext cx="0" cy="3600400"/>
                </a:xfrm>
                <a:prstGeom prst="line">
                  <a:avLst/>
                </a:prstGeom>
                <a:ln w="38100">
                  <a:headEnd type="triangl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r Verbinder 58">
                  <a:extLst>
                    <a:ext uri="{FF2B5EF4-FFF2-40B4-BE49-F238E27FC236}">
                      <a16:creationId xmlns:a16="http://schemas.microsoft.com/office/drawing/2014/main" id="{1D0BD5C5-C856-4D3D-B5A9-7ECC1C3AEF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6942677" y="3700379"/>
                  <a:ext cx="0" cy="3600400"/>
                </a:xfrm>
                <a:prstGeom prst="line">
                  <a:avLst/>
                </a:prstGeom>
                <a:ln w="38100">
                  <a:headEnd type="none" w="med" len="med"/>
                  <a:tailEnd type="triangl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60" name="Textfeld 59">
                  <a:extLst>
                    <a:ext uri="{FF2B5EF4-FFF2-40B4-BE49-F238E27FC236}">
                      <a16:creationId xmlns:a16="http://schemas.microsoft.com/office/drawing/2014/main" id="{89CB15CD-83F3-4DFA-B080-096E255CF89D}"/>
                    </a:ext>
                  </a:extLst>
                </p:cNvPr>
                <p:cNvSpPr txBox="1"/>
                <p:nvPr/>
              </p:nvSpPr>
              <p:spPr>
                <a:xfrm>
                  <a:off x="5991140" y="5587001"/>
                  <a:ext cx="2824604" cy="680193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enge [MWh]</a:t>
                  </a:r>
                </a:p>
              </p:txBody>
            </p:sp>
            <p:sp>
              <p:nvSpPr>
                <p:cNvPr id="61" name="Textfeld 60">
                  <a:extLst>
                    <a:ext uri="{FF2B5EF4-FFF2-40B4-BE49-F238E27FC236}">
                      <a16:creationId xmlns:a16="http://schemas.microsoft.com/office/drawing/2014/main" id="{16123C25-3B2F-441D-B8DB-58EBEC825130}"/>
                    </a:ext>
                  </a:extLst>
                </p:cNvPr>
                <p:cNvSpPr txBox="1"/>
                <p:nvPr/>
              </p:nvSpPr>
              <p:spPr>
                <a:xfrm rot="16200000">
                  <a:off x="3595915" y="3224574"/>
                  <a:ext cx="2830367" cy="680192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eis [€/MWh]</a:t>
                  </a:r>
                </a:p>
              </p:txBody>
            </p:sp>
            <p:sp>
              <p:nvSpPr>
                <p:cNvPr id="62" name="Ellipse 61">
                  <a:extLst>
                    <a:ext uri="{FF2B5EF4-FFF2-40B4-BE49-F238E27FC236}">
                      <a16:creationId xmlns:a16="http://schemas.microsoft.com/office/drawing/2014/main" id="{E2501C45-F61C-47CB-87A3-D84722912FF7}"/>
                    </a:ext>
                  </a:extLst>
                </p:cNvPr>
                <p:cNvSpPr/>
                <p:nvPr/>
              </p:nvSpPr>
              <p:spPr>
                <a:xfrm>
                  <a:off x="7918956" y="2400391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66" name="Gerader Verbinder 65">
                  <a:extLst>
                    <a:ext uri="{FF2B5EF4-FFF2-40B4-BE49-F238E27FC236}">
                      <a16:creationId xmlns:a16="http://schemas.microsoft.com/office/drawing/2014/main" id="{D7B30EF4-0243-4F11-A9AE-A3197E3638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297038" y="2436390"/>
                  <a:ext cx="1820141" cy="221951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Gerader Verbinder 66">
                  <a:extLst>
                    <a:ext uri="{FF2B5EF4-FFF2-40B4-BE49-F238E27FC236}">
                      <a16:creationId xmlns:a16="http://schemas.microsoft.com/office/drawing/2014/main" id="{4D6C359A-85B1-4419-BCBA-57B4A6E8C936}"/>
                    </a:ext>
                  </a:extLst>
                </p:cNvPr>
                <p:cNvCxnSpPr>
                  <a:cxnSpLocks/>
                  <a:stCxn id="62" idx="2"/>
                </p:cNvCxnSpPr>
                <p:nvPr/>
              </p:nvCxnSpPr>
              <p:spPr>
                <a:xfrm flipH="1">
                  <a:off x="7107223" y="2436391"/>
                  <a:ext cx="811733" cy="0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68" name="Ellipse 67">
                  <a:extLst>
                    <a:ext uri="{FF2B5EF4-FFF2-40B4-BE49-F238E27FC236}">
                      <a16:creationId xmlns:a16="http://schemas.microsoft.com/office/drawing/2014/main" id="{36408565-1177-4641-9A34-E96E2A0FD589}"/>
                    </a:ext>
                  </a:extLst>
                </p:cNvPr>
                <p:cNvSpPr/>
                <p:nvPr/>
              </p:nvSpPr>
              <p:spPr>
                <a:xfrm>
                  <a:off x="8492939" y="2077485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69" name="Gerader Verbinder 68">
                  <a:extLst>
                    <a:ext uri="{FF2B5EF4-FFF2-40B4-BE49-F238E27FC236}">
                      <a16:creationId xmlns:a16="http://schemas.microsoft.com/office/drawing/2014/main" id="{167E4544-DEC1-4236-8363-F75144D1E9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109026"/>
                  <a:ext cx="537983" cy="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Gerader Verbinder 69">
                  <a:extLst>
                    <a:ext uri="{FF2B5EF4-FFF2-40B4-BE49-F238E27FC236}">
                      <a16:creationId xmlns:a16="http://schemas.microsoft.com/office/drawing/2014/main" id="{D2C9A492-54CA-40CA-991F-13EE8A4F6A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096533"/>
                  <a:ext cx="0" cy="30385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71" name="Ellipse 70">
                  <a:extLst>
                    <a:ext uri="{FF2B5EF4-FFF2-40B4-BE49-F238E27FC236}">
                      <a16:creationId xmlns:a16="http://schemas.microsoft.com/office/drawing/2014/main" id="{9C522DA4-4AF0-43B4-A930-470C532CC0F7}"/>
                    </a:ext>
                  </a:extLst>
                </p:cNvPr>
                <p:cNvSpPr/>
                <p:nvPr/>
              </p:nvSpPr>
              <p:spPr>
                <a:xfrm>
                  <a:off x="5258223" y="4625056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</p:grpSp>
          <p:grpSp>
            <p:nvGrpSpPr>
              <p:cNvPr id="87" name="Gruppieren 86">
                <a:extLst>
                  <a:ext uri="{FF2B5EF4-FFF2-40B4-BE49-F238E27FC236}">
                    <a16:creationId xmlns:a16="http://schemas.microsoft.com/office/drawing/2014/main" id="{7835C5C0-224D-4A6D-9EE0-7FAFD244671C}"/>
                  </a:ext>
                </a:extLst>
              </p:cNvPr>
              <p:cNvGrpSpPr/>
              <p:nvPr/>
            </p:nvGrpSpPr>
            <p:grpSpPr>
              <a:xfrm>
                <a:off x="5122973" y="2470389"/>
                <a:ext cx="1686329" cy="1740040"/>
                <a:chOff x="4671002" y="1990430"/>
                <a:chExt cx="4144742" cy="4276762"/>
              </a:xfrm>
            </p:grpSpPr>
            <p:cxnSp>
              <p:nvCxnSpPr>
                <p:cNvPr id="88" name="Gerader Verbinder 87">
                  <a:extLst>
                    <a:ext uri="{FF2B5EF4-FFF2-40B4-BE49-F238E27FC236}">
                      <a16:creationId xmlns:a16="http://schemas.microsoft.com/office/drawing/2014/main" id="{34889AEE-3F7A-4FC6-A364-8B50E6301AC9}"/>
                    </a:ext>
                  </a:extLst>
                </p:cNvPr>
                <p:cNvCxnSpPr/>
                <p:nvPr/>
              </p:nvCxnSpPr>
              <p:spPr>
                <a:xfrm>
                  <a:off x="5286493" y="1990430"/>
                  <a:ext cx="0" cy="3600400"/>
                </a:xfrm>
                <a:prstGeom prst="line">
                  <a:avLst/>
                </a:prstGeom>
                <a:ln w="38100">
                  <a:headEnd type="triangl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Gerader Verbinder 88">
                  <a:extLst>
                    <a:ext uri="{FF2B5EF4-FFF2-40B4-BE49-F238E27FC236}">
                      <a16:creationId xmlns:a16="http://schemas.microsoft.com/office/drawing/2014/main" id="{F82DBCD0-D636-427B-B363-F3A04B68CE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6942677" y="3700379"/>
                  <a:ext cx="0" cy="3600400"/>
                </a:xfrm>
                <a:prstGeom prst="line">
                  <a:avLst/>
                </a:prstGeom>
                <a:ln w="38100">
                  <a:headEnd type="none" w="med" len="med"/>
                  <a:tailEnd type="triangl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90" name="Textfeld 89">
                  <a:extLst>
                    <a:ext uri="{FF2B5EF4-FFF2-40B4-BE49-F238E27FC236}">
                      <a16:creationId xmlns:a16="http://schemas.microsoft.com/office/drawing/2014/main" id="{0EAC1D76-2496-46C7-BF52-C9E26C874AAB}"/>
                    </a:ext>
                  </a:extLst>
                </p:cNvPr>
                <p:cNvSpPr txBox="1"/>
                <p:nvPr/>
              </p:nvSpPr>
              <p:spPr>
                <a:xfrm>
                  <a:off x="5991136" y="5586999"/>
                  <a:ext cx="2824608" cy="680193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enge [MWh]</a:t>
                  </a:r>
                </a:p>
              </p:txBody>
            </p:sp>
            <p:sp>
              <p:nvSpPr>
                <p:cNvPr id="91" name="Textfeld 90">
                  <a:extLst>
                    <a:ext uri="{FF2B5EF4-FFF2-40B4-BE49-F238E27FC236}">
                      <a16:creationId xmlns:a16="http://schemas.microsoft.com/office/drawing/2014/main" id="{9091BAA3-0115-4EEC-879D-93C7E4C35BC3}"/>
                    </a:ext>
                  </a:extLst>
                </p:cNvPr>
                <p:cNvSpPr txBox="1"/>
                <p:nvPr/>
              </p:nvSpPr>
              <p:spPr>
                <a:xfrm rot="16200000">
                  <a:off x="3595915" y="3224570"/>
                  <a:ext cx="2830365" cy="680192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eis [€/MWh]</a:t>
                  </a:r>
                </a:p>
              </p:txBody>
            </p:sp>
            <p:sp>
              <p:nvSpPr>
                <p:cNvPr id="92" name="Ellipse 91">
                  <a:extLst>
                    <a:ext uri="{FF2B5EF4-FFF2-40B4-BE49-F238E27FC236}">
                      <a16:creationId xmlns:a16="http://schemas.microsoft.com/office/drawing/2014/main" id="{54304E97-DDD9-4A07-91CA-6EC96722BF62}"/>
                    </a:ext>
                  </a:extLst>
                </p:cNvPr>
                <p:cNvSpPr/>
                <p:nvPr/>
              </p:nvSpPr>
              <p:spPr>
                <a:xfrm>
                  <a:off x="7918956" y="2400391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93" name="Gerader Verbinder 92">
                  <a:extLst>
                    <a:ext uri="{FF2B5EF4-FFF2-40B4-BE49-F238E27FC236}">
                      <a16:creationId xmlns:a16="http://schemas.microsoft.com/office/drawing/2014/main" id="{C147680B-DB07-4804-B042-D7BC94E955C5}"/>
                    </a:ext>
                  </a:extLst>
                </p:cNvPr>
                <p:cNvCxnSpPr>
                  <a:cxnSpLocks/>
                  <a:endCxn id="92" idx="3"/>
                </p:cNvCxnSpPr>
                <p:nvPr/>
              </p:nvCxnSpPr>
              <p:spPr>
                <a:xfrm flipV="1">
                  <a:off x="5297039" y="2461846"/>
                  <a:ext cx="2632461" cy="219406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95" name="Ellipse 94">
                  <a:extLst>
                    <a:ext uri="{FF2B5EF4-FFF2-40B4-BE49-F238E27FC236}">
                      <a16:creationId xmlns:a16="http://schemas.microsoft.com/office/drawing/2014/main" id="{9EBA4271-6837-4E18-9A5D-60F9D79DCDD9}"/>
                    </a:ext>
                  </a:extLst>
                </p:cNvPr>
                <p:cNvSpPr/>
                <p:nvPr/>
              </p:nvSpPr>
              <p:spPr>
                <a:xfrm>
                  <a:off x="8492939" y="2077485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96" name="Gerader Verbinder 95">
                  <a:extLst>
                    <a:ext uri="{FF2B5EF4-FFF2-40B4-BE49-F238E27FC236}">
                      <a16:creationId xmlns:a16="http://schemas.microsoft.com/office/drawing/2014/main" id="{7049A6AB-FA0F-45EA-9DA6-20F1743D729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109026"/>
                  <a:ext cx="537983" cy="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Gerader Verbinder 96">
                  <a:extLst>
                    <a:ext uri="{FF2B5EF4-FFF2-40B4-BE49-F238E27FC236}">
                      <a16:creationId xmlns:a16="http://schemas.microsoft.com/office/drawing/2014/main" id="{5AD655D9-A826-49DB-B34C-1524730B63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096533"/>
                  <a:ext cx="0" cy="30385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98" name="Ellipse 97">
                  <a:extLst>
                    <a:ext uri="{FF2B5EF4-FFF2-40B4-BE49-F238E27FC236}">
                      <a16:creationId xmlns:a16="http://schemas.microsoft.com/office/drawing/2014/main" id="{35A51A53-EE68-4B78-AEC4-C85EA9F56926}"/>
                    </a:ext>
                  </a:extLst>
                </p:cNvPr>
                <p:cNvSpPr/>
                <p:nvPr/>
              </p:nvSpPr>
              <p:spPr>
                <a:xfrm>
                  <a:off x="5258223" y="4625056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</p:grpSp>
          <p:grpSp>
            <p:nvGrpSpPr>
              <p:cNvPr id="99" name="Gruppieren 98">
                <a:extLst>
                  <a:ext uri="{FF2B5EF4-FFF2-40B4-BE49-F238E27FC236}">
                    <a16:creationId xmlns:a16="http://schemas.microsoft.com/office/drawing/2014/main" id="{B4417B9E-E1EE-4E66-9718-4B7D64969013}"/>
                  </a:ext>
                </a:extLst>
              </p:cNvPr>
              <p:cNvGrpSpPr/>
              <p:nvPr/>
            </p:nvGrpSpPr>
            <p:grpSpPr>
              <a:xfrm>
                <a:off x="7223299" y="2470389"/>
                <a:ext cx="1686327" cy="1740040"/>
                <a:chOff x="4671007" y="1990430"/>
                <a:chExt cx="4144737" cy="4276762"/>
              </a:xfrm>
            </p:grpSpPr>
            <p:cxnSp>
              <p:nvCxnSpPr>
                <p:cNvPr id="100" name="Gerader Verbinder 99">
                  <a:extLst>
                    <a:ext uri="{FF2B5EF4-FFF2-40B4-BE49-F238E27FC236}">
                      <a16:creationId xmlns:a16="http://schemas.microsoft.com/office/drawing/2014/main" id="{65317731-8F3B-434A-A155-AC4C5AA5C8BF}"/>
                    </a:ext>
                  </a:extLst>
                </p:cNvPr>
                <p:cNvCxnSpPr/>
                <p:nvPr/>
              </p:nvCxnSpPr>
              <p:spPr>
                <a:xfrm>
                  <a:off x="5286493" y="1990430"/>
                  <a:ext cx="0" cy="3600400"/>
                </a:xfrm>
                <a:prstGeom prst="line">
                  <a:avLst/>
                </a:prstGeom>
                <a:ln w="38100">
                  <a:headEnd type="triangl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Gerader Verbinder 100">
                  <a:extLst>
                    <a:ext uri="{FF2B5EF4-FFF2-40B4-BE49-F238E27FC236}">
                      <a16:creationId xmlns:a16="http://schemas.microsoft.com/office/drawing/2014/main" id="{3E0A3741-F439-43C8-8434-FB369585EB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6942677" y="3700379"/>
                  <a:ext cx="0" cy="3600400"/>
                </a:xfrm>
                <a:prstGeom prst="line">
                  <a:avLst/>
                </a:prstGeom>
                <a:ln w="38100">
                  <a:headEnd type="none" w="med" len="med"/>
                  <a:tailEnd type="triangl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02" name="Textfeld 101">
                  <a:extLst>
                    <a:ext uri="{FF2B5EF4-FFF2-40B4-BE49-F238E27FC236}">
                      <a16:creationId xmlns:a16="http://schemas.microsoft.com/office/drawing/2014/main" id="{3043C1CE-A003-40F3-BE05-E9B2E90E4001}"/>
                    </a:ext>
                  </a:extLst>
                </p:cNvPr>
                <p:cNvSpPr txBox="1"/>
                <p:nvPr/>
              </p:nvSpPr>
              <p:spPr>
                <a:xfrm>
                  <a:off x="5991133" y="5586999"/>
                  <a:ext cx="2824611" cy="680193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enge [MWh]</a:t>
                  </a:r>
                </a:p>
              </p:txBody>
            </p:sp>
            <p:sp>
              <p:nvSpPr>
                <p:cNvPr id="103" name="Textfeld 102">
                  <a:extLst>
                    <a:ext uri="{FF2B5EF4-FFF2-40B4-BE49-F238E27FC236}">
                      <a16:creationId xmlns:a16="http://schemas.microsoft.com/office/drawing/2014/main" id="{807D399A-A847-4825-A2AA-4F537BB891CB}"/>
                    </a:ext>
                  </a:extLst>
                </p:cNvPr>
                <p:cNvSpPr txBox="1"/>
                <p:nvPr/>
              </p:nvSpPr>
              <p:spPr>
                <a:xfrm rot="16200000">
                  <a:off x="3595920" y="3224569"/>
                  <a:ext cx="2830366" cy="680192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eis [€/MWh]</a:t>
                  </a:r>
                </a:p>
              </p:txBody>
            </p:sp>
            <p:sp>
              <p:nvSpPr>
                <p:cNvPr id="104" name="Ellipse 103">
                  <a:extLst>
                    <a:ext uri="{FF2B5EF4-FFF2-40B4-BE49-F238E27FC236}">
                      <a16:creationId xmlns:a16="http://schemas.microsoft.com/office/drawing/2014/main" id="{B0613C49-80AC-4CD5-8CEC-5BAB4659435F}"/>
                    </a:ext>
                  </a:extLst>
                </p:cNvPr>
                <p:cNvSpPr/>
                <p:nvPr/>
              </p:nvSpPr>
              <p:spPr>
                <a:xfrm>
                  <a:off x="7918956" y="2400391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105" name="Gerader Verbinder 104">
                  <a:extLst>
                    <a:ext uri="{FF2B5EF4-FFF2-40B4-BE49-F238E27FC236}">
                      <a16:creationId xmlns:a16="http://schemas.microsoft.com/office/drawing/2014/main" id="{5A7DFCE3-9117-4752-9803-8CC53A5CC03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297039" y="2400390"/>
                  <a:ext cx="1204843" cy="225552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Gerader Verbinder 105">
                  <a:extLst>
                    <a:ext uri="{FF2B5EF4-FFF2-40B4-BE49-F238E27FC236}">
                      <a16:creationId xmlns:a16="http://schemas.microsoft.com/office/drawing/2014/main" id="{035FC4B2-3872-4C4A-A834-A1C62D35F370}"/>
                    </a:ext>
                  </a:extLst>
                </p:cNvPr>
                <p:cNvCxnSpPr>
                  <a:cxnSpLocks/>
                  <a:stCxn id="104" idx="2"/>
                </p:cNvCxnSpPr>
                <p:nvPr/>
              </p:nvCxnSpPr>
              <p:spPr>
                <a:xfrm flipH="1" flipV="1">
                  <a:off x="6501882" y="2418487"/>
                  <a:ext cx="1417074" cy="17903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107" name="Ellipse 106">
                  <a:extLst>
                    <a:ext uri="{FF2B5EF4-FFF2-40B4-BE49-F238E27FC236}">
                      <a16:creationId xmlns:a16="http://schemas.microsoft.com/office/drawing/2014/main" id="{BD65F5CF-4850-4590-BEF3-788A26DF0098}"/>
                    </a:ext>
                  </a:extLst>
                </p:cNvPr>
                <p:cNvSpPr/>
                <p:nvPr/>
              </p:nvSpPr>
              <p:spPr>
                <a:xfrm>
                  <a:off x="8492939" y="2077485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108" name="Gerader Verbinder 107">
                  <a:extLst>
                    <a:ext uri="{FF2B5EF4-FFF2-40B4-BE49-F238E27FC236}">
                      <a16:creationId xmlns:a16="http://schemas.microsoft.com/office/drawing/2014/main" id="{6526E0ED-293B-40EF-8BE4-0F5DF7FB40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109026"/>
                  <a:ext cx="537983" cy="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Gerader Verbinder 108">
                  <a:extLst>
                    <a:ext uri="{FF2B5EF4-FFF2-40B4-BE49-F238E27FC236}">
                      <a16:creationId xmlns:a16="http://schemas.microsoft.com/office/drawing/2014/main" id="{9650EF5C-9DA2-4BF1-BACA-A0C4F101C5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096533"/>
                  <a:ext cx="0" cy="30385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110" name="Ellipse 109">
                  <a:extLst>
                    <a:ext uri="{FF2B5EF4-FFF2-40B4-BE49-F238E27FC236}">
                      <a16:creationId xmlns:a16="http://schemas.microsoft.com/office/drawing/2014/main" id="{C213D710-957A-47A6-9B68-EA39251438AB}"/>
                    </a:ext>
                  </a:extLst>
                </p:cNvPr>
                <p:cNvSpPr/>
                <p:nvPr/>
              </p:nvSpPr>
              <p:spPr>
                <a:xfrm>
                  <a:off x="5258223" y="4625056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</p:grpSp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7313A810-3EE2-4D1B-846C-6AD7D6008F37}"/>
                  </a:ext>
                </a:extLst>
              </p:cNvPr>
              <p:cNvSpPr txBox="1"/>
              <p:nvPr/>
            </p:nvSpPr>
            <p:spPr>
              <a:xfrm>
                <a:off x="3735344" y="3631006"/>
                <a:ext cx="763260" cy="27674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7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efault</a:t>
                </a:r>
              </a:p>
            </p:txBody>
          </p:sp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01FE6687-D406-425A-A6BE-46D9F094A424}"/>
                  </a:ext>
                </a:extLst>
              </p:cNvPr>
              <p:cNvSpPr txBox="1"/>
              <p:nvPr/>
            </p:nvSpPr>
            <p:spPr>
              <a:xfrm>
                <a:off x="5464986" y="3621782"/>
                <a:ext cx="1266628" cy="27674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7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Zurückhaltend</a:t>
                </a:r>
              </a:p>
            </p:txBody>
          </p:sp>
          <p:cxnSp>
            <p:nvCxnSpPr>
              <p:cNvPr id="120" name="Gerader Verbinder 119">
                <a:extLst>
                  <a:ext uri="{FF2B5EF4-FFF2-40B4-BE49-F238E27FC236}">
                    <a16:creationId xmlns:a16="http://schemas.microsoft.com/office/drawing/2014/main" id="{ACC5EC07-218B-42A5-89BF-773736DE91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71864" y="1988840"/>
                <a:ext cx="0" cy="2136852"/>
              </a:xfrm>
              <a:prstGeom prst="line">
                <a:avLst/>
              </a:prstGeom>
              <a:ln w="952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Gerader Verbinder 120">
                <a:extLst>
                  <a:ext uri="{FF2B5EF4-FFF2-40B4-BE49-F238E27FC236}">
                    <a16:creationId xmlns:a16="http://schemas.microsoft.com/office/drawing/2014/main" id="{6F5081CE-009A-47F5-BA24-F9171343EA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2104" y="1988840"/>
                <a:ext cx="0" cy="2136852"/>
              </a:xfrm>
              <a:prstGeom prst="line">
                <a:avLst/>
              </a:prstGeom>
              <a:ln w="952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Gerader Verbinder 121">
                <a:extLst>
                  <a:ext uri="{FF2B5EF4-FFF2-40B4-BE49-F238E27FC236}">
                    <a16:creationId xmlns:a16="http://schemas.microsoft.com/office/drawing/2014/main" id="{FD28E839-DD61-4239-A746-FFF58B42EB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99656" y="2315534"/>
                <a:ext cx="5976664" cy="0"/>
              </a:xfrm>
              <a:prstGeom prst="line">
                <a:avLst/>
              </a:prstGeom>
              <a:ln w="952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29" name="Textfeld 128">
                <a:extLst>
                  <a:ext uri="{FF2B5EF4-FFF2-40B4-BE49-F238E27FC236}">
                    <a16:creationId xmlns:a16="http://schemas.microsoft.com/office/drawing/2014/main" id="{4849211E-DF4E-4CD1-B23D-FB3DD9F6E9C7}"/>
                  </a:ext>
                </a:extLst>
              </p:cNvPr>
              <p:cNvSpPr txBox="1"/>
              <p:nvPr/>
            </p:nvSpPr>
            <p:spPr>
              <a:xfrm>
                <a:off x="5595819" y="2041468"/>
                <a:ext cx="1004965" cy="31931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ktion 2</a:t>
                </a:r>
              </a:p>
            </p:txBody>
          </p:sp>
          <p:sp>
            <p:nvSpPr>
              <p:cNvPr id="131" name="Textfeld 130">
                <a:extLst>
                  <a:ext uri="{FF2B5EF4-FFF2-40B4-BE49-F238E27FC236}">
                    <a16:creationId xmlns:a16="http://schemas.microsoft.com/office/drawing/2014/main" id="{96231FD5-0D81-48AB-AAAE-A53738990D76}"/>
                  </a:ext>
                </a:extLst>
              </p:cNvPr>
              <p:cNvSpPr txBox="1"/>
              <p:nvPr/>
            </p:nvSpPr>
            <p:spPr>
              <a:xfrm>
                <a:off x="7765591" y="2038210"/>
                <a:ext cx="1004965" cy="31931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ktion 3</a:t>
                </a:r>
              </a:p>
            </p:txBody>
          </p:sp>
        </p:grp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7014BD04-55EC-47CB-B983-F6811FD02EB1}"/>
                </a:ext>
              </a:extLst>
            </p:cNvPr>
            <p:cNvSpPr txBox="1"/>
            <p:nvPr/>
          </p:nvSpPr>
          <p:spPr>
            <a:xfrm>
              <a:off x="7788373" y="3622263"/>
              <a:ext cx="936223" cy="27674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non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7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gressiv</a:t>
              </a:r>
            </a:p>
          </p:txBody>
        </p:sp>
      </p:grpSp>
      <p:pic>
        <p:nvPicPr>
          <p:cNvPr id="3" name="Grafik 2" descr="Angebot und Nachfrage">
            <a:extLst>
              <a:ext uri="{FF2B5EF4-FFF2-40B4-BE49-F238E27FC236}">
                <a16:creationId xmlns:a16="http://schemas.microsoft.com/office/drawing/2014/main" id="{46E26BE1-3D2C-46A9-921B-770522D51A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28526" y="3853873"/>
            <a:ext cx="974003" cy="97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467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A71D1AB-477A-42B3-A88F-AFB6391E3BC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AACC76-69E0-45E5-8DA6-DB7773D4821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CA14A26-1F51-41E3-836F-0503AA6C967E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E980E-1C2E-4802-9FEA-2AAD4B91F8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E6B366-A7A8-48A5-B418-349674F737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29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1B4CE0-2895-42A4-872A-9BB903600A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Marktsituationen werden mit Hilfe einer Clusteranalyse in 25 diskrete Zustände eingeteilt. </a:t>
            </a:r>
            <a:br>
              <a:rPr lang="de-DE" dirty="0"/>
            </a:br>
            <a:r>
              <a:rPr lang="de-DE" dirty="0"/>
              <a:t>Für jede Stunde wird das gleiche Model verwendet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15B5C1-E023-476E-AB6B-AF2F677CC08C}"/>
              </a:ext>
            </a:extLst>
          </p:cNvPr>
          <p:cNvSpPr/>
          <p:nvPr/>
        </p:nvSpPr>
        <p:spPr>
          <a:xfrm>
            <a:off x="571064" y="2010740"/>
            <a:ext cx="4876863" cy="350649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400" dirty="0"/>
              <a:t>PWP Agent</a:t>
            </a:r>
          </a:p>
        </p:txBody>
      </p:sp>
      <p:cxnSp>
        <p:nvCxnSpPr>
          <p:cNvPr id="26" name="Gewinkelter Verbinder 32">
            <a:extLst>
              <a:ext uri="{FF2B5EF4-FFF2-40B4-BE49-F238E27FC236}">
                <a16:creationId xmlns:a16="http://schemas.microsoft.com/office/drawing/2014/main" id="{9FCFEBA8-67BA-484F-B0A9-5F034426BC77}"/>
              </a:ext>
            </a:extLst>
          </p:cNvPr>
          <p:cNvCxnSpPr>
            <a:cxnSpLocks/>
            <a:stCxn id="37" idx="2"/>
            <a:endCxn id="8" idx="2"/>
          </p:cNvCxnSpPr>
          <p:nvPr/>
        </p:nvCxnSpPr>
        <p:spPr>
          <a:xfrm rot="5400000">
            <a:off x="6418069" y="1570365"/>
            <a:ext cx="538292" cy="7355438"/>
          </a:xfrm>
          <a:prstGeom prst="bentConnector3">
            <a:avLst>
              <a:gd name="adj1" fmla="val 142468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22884534-C9F7-4A56-A1D3-E1E73D0B4A64}"/>
              </a:ext>
            </a:extLst>
          </p:cNvPr>
          <p:cNvSpPr txBox="1"/>
          <p:nvPr/>
        </p:nvSpPr>
        <p:spPr>
          <a:xfrm>
            <a:off x="4112025" y="5805987"/>
            <a:ext cx="4759636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lohnung des Agent durch Gewinne bzw. 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zuschlagte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ebot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92FF566-BD01-4B41-9456-F770B37AB2D6}"/>
              </a:ext>
            </a:extLst>
          </p:cNvPr>
          <p:cNvSpPr txBox="1"/>
          <p:nvPr/>
        </p:nvSpPr>
        <p:spPr>
          <a:xfrm>
            <a:off x="6269435" y="4297766"/>
            <a:ext cx="2034531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iel: 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winnmaximier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CF10B24-5692-4E4E-B6A9-B42BD02C5078}"/>
              </a:ext>
            </a:extLst>
          </p:cNvPr>
          <p:cNvSpPr txBox="1"/>
          <p:nvPr/>
        </p:nvSpPr>
        <p:spPr>
          <a:xfrm>
            <a:off x="3920425" y="5116722"/>
            <a:ext cx="1331251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Wiederholungen zur Strategieentwicklung 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2E6B07-7F16-43D0-A469-B9B86EBA8232}"/>
              </a:ext>
            </a:extLst>
          </p:cNvPr>
          <p:cNvSpPr/>
          <p:nvPr/>
        </p:nvSpPr>
        <p:spPr>
          <a:xfrm>
            <a:off x="9330658" y="3547918"/>
            <a:ext cx="2068551" cy="14310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dirty="0" err="1"/>
              <a:t>DayAhead</a:t>
            </a:r>
            <a:r>
              <a:rPr lang="de-DE" sz="1400" dirty="0"/>
              <a:t> Markt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45A4A20C-ED1D-4A79-BD5A-C585B2E17DEB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5447927" y="4263428"/>
            <a:ext cx="3882731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8D3951C5-B4AC-4C9C-842D-91BDB5A0BB28}"/>
              </a:ext>
            </a:extLst>
          </p:cNvPr>
          <p:cNvGrpSpPr/>
          <p:nvPr/>
        </p:nvGrpSpPr>
        <p:grpSpPr>
          <a:xfrm>
            <a:off x="3058973" y="2509004"/>
            <a:ext cx="2192703" cy="2509961"/>
            <a:chOff x="4367808" y="2420888"/>
            <a:chExt cx="2068551" cy="2376264"/>
          </a:xfrm>
        </p:grpSpPr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A887BFA7-0E8C-4998-8176-5E45DD0C759C}"/>
                </a:ext>
              </a:extLst>
            </p:cNvPr>
            <p:cNvSpPr/>
            <p:nvPr/>
          </p:nvSpPr>
          <p:spPr>
            <a:xfrm>
              <a:off x="4367808" y="2420888"/>
              <a:ext cx="2068551" cy="2376264"/>
            </a:xfrm>
            <a:prstGeom prst="rect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/>
                <a:t>Cluster Model</a:t>
              </a:r>
            </a:p>
            <a:p>
              <a:r>
                <a:rPr lang="de-DE" sz="1200" b="1" dirty="0">
                  <a:solidFill>
                    <a:schemeClr val="accent1"/>
                  </a:solidFill>
                </a:rPr>
                <a:t>K</a:t>
              </a:r>
              <a:r>
                <a:rPr lang="de-DE" sz="1200" b="1" dirty="0"/>
                <a:t> </a:t>
              </a:r>
              <a:r>
                <a:rPr lang="de-DE" sz="1200" b="1" dirty="0" err="1">
                  <a:solidFill>
                    <a:schemeClr val="accent1"/>
                  </a:solidFill>
                </a:rPr>
                <a:t>Means</a:t>
              </a:r>
              <a:endParaRPr lang="de-DE" sz="1200" b="1" dirty="0">
                <a:solidFill>
                  <a:schemeClr val="accent1"/>
                </a:solidFill>
              </a:endParaRPr>
            </a:p>
          </p:txBody>
        </p:sp>
        <p:pic>
          <p:nvPicPr>
            <p:cNvPr id="65" name="Picture 2">
              <a:extLst>
                <a:ext uri="{FF2B5EF4-FFF2-40B4-BE49-F238E27FC236}">
                  <a16:creationId xmlns:a16="http://schemas.microsoft.com/office/drawing/2014/main" id="{56AAFCA7-402B-44D5-97A5-38C86339C7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767" r="13420" b="11148"/>
            <a:stretch/>
          </p:blipFill>
          <p:spPr bwMode="auto">
            <a:xfrm>
              <a:off x="4619835" y="3068960"/>
              <a:ext cx="1564495" cy="147938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09500A51-77BE-4AB4-8E5F-69C8959235B2}"/>
              </a:ext>
            </a:extLst>
          </p:cNvPr>
          <p:cNvSpPr txBox="1"/>
          <p:nvPr/>
        </p:nvSpPr>
        <p:spPr>
          <a:xfrm>
            <a:off x="674378" y="3022876"/>
            <a:ext cx="2325538" cy="1769715"/>
          </a:xfrm>
          <a:prstGeom prst="rect">
            <a:avLst/>
          </a:prstGeom>
          <a:solidFill>
            <a:schemeClr val="bg1"/>
          </a:solidFill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2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rte zur jeweiligen Stunde:</a:t>
            </a:r>
          </a:p>
          <a:p>
            <a:pPr marL="285750" indent="-28575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omnachfrage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ndgeschwindigkeit</a:t>
            </a:r>
          </a:p>
          <a:p>
            <a:pPr marL="285750" indent="-28575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hlungsdaten</a:t>
            </a:r>
          </a:p>
          <a:p>
            <a:pPr marL="285750" indent="-28575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mperatur</a:t>
            </a:r>
          </a:p>
          <a:p>
            <a:pPr marL="285750" indent="-285750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  <a:buFont typeface="Wingdings" panose="05000000000000000000" pitchFamily="2" charset="2"/>
              <a:buChar char="§"/>
            </a:pPr>
            <a:r>
              <a:rPr lang="de-DE" sz="12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isprognose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9989B31-F4FF-48BA-8412-D334E01A07EC}"/>
              </a:ext>
            </a:extLst>
          </p:cNvPr>
          <p:cNvCxnSpPr>
            <a:cxnSpLocks/>
          </p:cNvCxnSpPr>
          <p:nvPr/>
        </p:nvCxnSpPr>
        <p:spPr>
          <a:xfrm>
            <a:off x="2783632" y="3853873"/>
            <a:ext cx="432048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Grafik 24" descr="Angebot und Nachfrage">
            <a:extLst>
              <a:ext uri="{FF2B5EF4-FFF2-40B4-BE49-F238E27FC236}">
                <a16:creationId xmlns:a16="http://schemas.microsoft.com/office/drawing/2014/main" id="{ABEC3EC2-A703-4629-AD99-B97BC98A57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28526" y="3853873"/>
            <a:ext cx="974003" cy="974003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4477C16-AE29-4479-9FCD-5E41B00667DF}"/>
              </a:ext>
            </a:extLst>
          </p:cNvPr>
          <p:cNvGrpSpPr/>
          <p:nvPr/>
        </p:nvGrpSpPr>
        <p:grpSpPr>
          <a:xfrm>
            <a:off x="6288787" y="3466634"/>
            <a:ext cx="1931726" cy="654706"/>
            <a:chOff x="6288787" y="3466634"/>
            <a:chExt cx="1931726" cy="654706"/>
          </a:xfrm>
        </p:grpSpPr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8EAC2975-5E72-4455-82D5-9355F37431B2}"/>
                </a:ext>
              </a:extLst>
            </p:cNvPr>
            <p:cNvGrpSpPr/>
            <p:nvPr/>
          </p:nvGrpSpPr>
          <p:grpSpPr>
            <a:xfrm>
              <a:off x="6463580" y="3588710"/>
              <a:ext cx="416421" cy="416420"/>
              <a:chOff x="5142477" y="1990430"/>
              <a:chExt cx="3600400" cy="3600400"/>
            </a:xfrm>
          </p:grpSpPr>
          <p:cxnSp>
            <p:nvCxnSpPr>
              <p:cNvPr id="147" name="Gerader Verbinder 146">
                <a:extLst>
                  <a:ext uri="{FF2B5EF4-FFF2-40B4-BE49-F238E27FC236}">
                    <a16:creationId xmlns:a16="http://schemas.microsoft.com/office/drawing/2014/main" id="{79A0A071-4259-4D10-B584-156B30ADEB4E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48" name="Gerader Verbinder 147">
                <a:extLst>
                  <a:ext uri="{FF2B5EF4-FFF2-40B4-BE49-F238E27FC236}">
                    <a16:creationId xmlns:a16="http://schemas.microsoft.com/office/drawing/2014/main" id="{EA889347-86E9-48B3-AEAC-4C0F87F2004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51" name="Ellipse 150">
                <a:extLst>
                  <a:ext uri="{FF2B5EF4-FFF2-40B4-BE49-F238E27FC236}">
                    <a16:creationId xmlns:a16="http://schemas.microsoft.com/office/drawing/2014/main" id="{5538BF16-D9C7-481B-946A-CFCB7680B318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152" name="Gerader Verbinder 151">
                <a:extLst>
                  <a:ext uri="{FF2B5EF4-FFF2-40B4-BE49-F238E27FC236}">
                    <a16:creationId xmlns:a16="http://schemas.microsoft.com/office/drawing/2014/main" id="{0705ACBD-635C-4E64-BFAC-6528F75006F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53" name="Gerader Verbinder 152">
                <a:extLst>
                  <a:ext uri="{FF2B5EF4-FFF2-40B4-BE49-F238E27FC236}">
                    <a16:creationId xmlns:a16="http://schemas.microsoft.com/office/drawing/2014/main" id="{2974218B-C0D4-44BB-A5D1-E62A7CC65112}"/>
                  </a:ext>
                </a:extLst>
              </p:cNvPr>
              <p:cNvCxnSpPr>
                <a:cxnSpLocks/>
                <a:stCxn id="151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54" name="Ellipse 153">
                <a:extLst>
                  <a:ext uri="{FF2B5EF4-FFF2-40B4-BE49-F238E27FC236}">
                    <a16:creationId xmlns:a16="http://schemas.microsoft.com/office/drawing/2014/main" id="{10A843F2-B70A-4231-B1D2-D202DCC5675E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155" name="Gerader Verbinder 154">
                <a:extLst>
                  <a:ext uri="{FF2B5EF4-FFF2-40B4-BE49-F238E27FC236}">
                    <a16:creationId xmlns:a16="http://schemas.microsoft.com/office/drawing/2014/main" id="{6EA9D1CB-2EEA-497D-8A78-870848F5CB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56" name="Gerader Verbinder 155">
                <a:extLst>
                  <a:ext uri="{FF2B5EF4-FFF2-40B4-BE49-F238E27FC236}">
                    <a16:creationId xmlns:a16="http://schemas.microsoft.com/office/drawing/2014/main" id="{1AAE598E-FC6D-4CD4-873C-A1754A5B2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57" name="Ellipse 156">
                <a:extLst>
                  <a:ext uri="{FF2B5EF4-FFF2-40B4-BE49-F238E27FC236}">
                    <a16:creationId xmlns:a16="http://schemas.microsoft.com/office/drawing/2014/main" id="{66882941-A94B-4AAB-8FBB-094231CA5927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A5BE07B7-20D1-4CE4-B4B9-6DA94F2923CB}"/>
                </a:ext>
              </a:extLst>
            </p:cNvPr>
            <p:cNvGrpSpPr/>
            <p:nvPr/>
          </p:nvGrpSpPr>
          <p:grpSpPr>
            <a:xfrm>
              <a:off x="6953137" y="3586461"/>
              <a:ext cx="416421" cy="416420"/>
              <a:chOff x="5142477" y="1990430"/>
              <a:chExt cx="3600400" cy="3600400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4F391692-5243-42CD-956E-A8A306CED630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F7DBE2CA-4D34-4CAC-8570-9ABC90ABE4EA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B73B4D45-2DD0-4F06-9E1C-992BAA3542BF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47C7E3C8-D9CA-4BA7-8E63-3F3B0968799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A8C2944D-376A-4D96-BACC-79A660175DA6}"/>
                  </a:ext>
                </a:extLst>
              </p:cNvPr>
              <p:cNvCxnSpPr>
                <a:cxnSpLocks/>
                <a:stCxn id="36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0" name="Ellipse 39">
                <a:extLst>
                  <a:ext uri="{FF2B5EF4-FFF2-40B4-BE49-F238E27FC236}">
                    <a16:creationId xmlns:a16="http://schemas.microsoft.com/office/drawing/2014/main" id="{2870CDBA-705A-4FB0-9AB9-2DEB732BF186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82E74761-67AB-4067-A2A7-9D3E61210C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C62A2C87-D59A-40D9-9FE8-95F8024AA0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5D289166-18A7-4BE7-86CA-412B04EFA528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A658EECF-39D5-46BB-91AB-4749FD44764A}"/>
                </a:ext>
              </a:extLst>
            </p:cNvPr>
            <p:cNvGrpSpPr/>
            <p:nvPr/>
          </p:nvGrpSpPr>
          <p:grpSpPr>
            <a:xfrm>
              <a:off x="7432397" y="3581963"/>
              <a:ext cx="416421" cy="416420"/>
              <a:chOff x="5142477" y="1990430"/>
              <a:chExt cx="3600400" cy="3600400"/>
            </a:xfrm>
          </p:grpSpPr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EA55BF83-CCC4-40BD-9B18-03ED74112750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838B2640-3CFF-4232-9A1D-C0EB2793B770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9028B857-9B83-4304-A7BA-87074B7C5DEE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7CE04A18-F43C-434C-8DAD-A38F908B18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E179B94B-F92F-401C-A258-0D1C5DE92C61}"/>
                  </a:ext>
                </a:extLst>
              </p:cNvPr>
              <p:cNvCxnSpPr>
                <a:cxnSpLocks/>
                <a:stCxn id="49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2" name="Ellipse 51">
                <a:extLst>
                  <a:ext uri="{FF2B5EF4-FFF2-40B4-BE49-F238E27FC236}">
                    <a16:creationId xmlns:a16="http://schemas.microsoft.com/office/drawing/2014/main" id="{C0352348-C40E-4A49-9354-0FEF2F453BD4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D87CB444-EB49-4EC3-8B88-E5B500868D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B88A8B77-9742-4FDE-9F60-0845946310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5" name="Ellipse 54">
                <a:extLst>
                  <a:ext uri="{FF2B5EF4-FFF2-40B4-BE49-F238E27FC236}">
                    <a16:creationId xmlns:a16="http://schemas.microsoft.com/office/drawing/2014/main" id="{BC95E16B-5A03-497D-AAE8-0AA9050C51A9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84D680F3-9E87-43BC-AB94-9BA1E1F284B8}"/>
                </a:ext>
              </a:extLst>
            </p:cNvPr>
            <p:cNvSpPr/>
            <p:nvPr/>
          </p:nvSpPr>
          <p:spPr>
            <a:xfrm>
              <a:off x="6288787" y="3466634"/>
              <a:ext cx="1931726" cy="654706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de-DE" dirty="0">
                  <a:solidFill>
                    <a:schemeClr val="tx1"/>
                  </a:solidFill>
                </a:rPr>
                <a:t>	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1895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1 – Aufbau der Simul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A3CF975F-0D41-444A-A6C1-1008B04993F2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</a:t>
            </a:fld>
            <a:endParaRPr lang="de-DE" alt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Zur Analyse der Energieversorgung in Deutschland werden verschiedene Akteure modelliert und  in einem Gesamtsystem vereint.</a:t>
            </a:r>
          </a:p>
        </p:txBody>
      </p:sp>
      <p:grpSp>
        <p:nvGrpSpPr>
          <p:cNvPr id="197" name="Gruppieren 196">
            <a:extLst>
              <a:ext uri="{FF2B5EF4-FFF2-40B4-BE49-F238E27FC236}">
                <a16:creationId xmlns:a16="http://schemas.microsoft.com/office/drawing/2014/main" id="{7A62FB9D-F54E-4EB3-8641-9F1823CCF4A8}"/>
              </a:ext>
            </a:extLst>
          </p:cNvPr>
          <p:cNvGrpSpPr/>
          <p:nvPr/>
        </p:nvGrpSpPr>
        <p:grpSpPr>
          <a:xfrm>
            <a:off x="613224" y="2012265"/>
            <a:ext cx="6886173" cy="4026503"/>
            <a:chOff x="613224" y="2012265"/>
            <a:chExt cx="6886173" cy="4026503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ED6C9E6C-4BBE-445C-A047-4F515C60BEAC}"/>
                </a:ext>
              </a:extLst>
            </p:cNvPr>
            <p:cNvSpPr/>
            <p:nvPr/>
          </p:nvSpPr>
          <p:spPr>
            <a:xfrm>
              <a:off x="3259608" y="3075661"/>
              <a:ext cx="1620000" cy="50405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Day </a:t>
              </a:r>
              <a:r>
                <a:rPr lang="de-DE" sz="1200" b="1" dirty="0" err="1"/>
                <a:t>Ahead</a:t>
              </a:r>
              <a:r>
                <a:rPr lang="de-DE" sz="1200" b="1" dirty="0"/>
                <a:t> Markt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9943AE-57EA-4E64-B2AA-5A1E8EAA681C}"/>
                </a:ext>
              </a:extLst>
            </p:cNvPr>
            <p:cNvSpPr/>
            <p:nvPr/>
          </p:nvSpPr>
          <p:spPr>
            <a:xfrm>
              <a:off x="5611991" y="3274881"/>
              <a:ext cx="1620000" cy="50405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Klassisch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84A3C52-F1CA-481F-B622-BB2E0DF0734E}"/>
                </a:ext>
              </a:extLst>
            </p:cNvPr>
            <p:cNvSpPr/>
            <p:nvPr/>
          </p:nvSpPr>
          <p:spPr>
            <a:xfrm>
              <a:off x="3259608" y="4794540"/>
              <a:ext cx="1620000" cy="50405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ÜNB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5D2D2D0-3BED-4B61-B0AB-BC3D463D233F}"/>
                </a:ext>
              </a:extLst>
            </p:cNvPr>
            <p:cNvSpPr/>
            <p:nvPr/>
          </p:nvSpPr>
          <p:spPr>
            <a:xfrm>
              <a:off x="846298" y="3280498"/>
              <a:ext cx="1620000" cy="50405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Erneuerbare Energien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A9A611A-9881-4C10-9818-060058577AB8}"/>
                </a:ext>
              </a:extLst>
            </p:cNvPr>
            <p:cNvSpPr/>
            <p:nvPr/>
          </p:nvSpPr>
          <p:spPr>
            <a:xfrm>
              <a:off x="829904" y="4056242"/>
              <a:ext cx="1620000" cy="50405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Kraftwerks-betreiber</a:t>
              </a:r>
            </a:p>
          </p:txBody>
        </p:sp>
        <p:sp>
          <p:nvSpPr>
            <p:cNvPr id="17" name="Flussdiagramm: Magnetplattenspeicher 16">
              <a:extLst>
                <a:ext uri="{FF2B5EF4-FFF2-40B4-BE49-F238E27FC236}">
                  <a16:creationId xmlns:a16="http://schemas.microsoft.com/office/drawing/2014/main" id="{92C3A801-D3ED-4AC8-8FE7-E7A8628A7405}"/>
                </a:ext>
              </a:extLst>
            </p:cNvPr>
            <p:cNvSpPr/>
            <p:nvPr/>
          </p:nvSpPr>
          <p:spPr>
            <a:xfrm>
              <a:off x="3349528" y="2472285"/>
              <a:ext cx="1440160" cy="424988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de-DE" sz="1200" b="1" dirty="0">
                  <a:solidFill>
                    <a:schemeClr val="dk1"/>
                  </a:solidFill>
                </a:rPr>
                <a:t>DWD</a:t>
              </a:r>
            </a:p>
          </p:txBody>
        </p: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347B73C6-8596-46AB-AC05-22D2C0A2437C}"/>
                </a:ext>
              </a:extLst>
            </p:cNvPr>
            <p:cNvCxnSpPr>
              <a:cxnSpLocks/>
              <a:endCxn id="2" idx="3"/>
            </p:cNvCxnSpPr>
            <p:nvPr/>
          </p:nvCxnSpPr>
          <p:spPr>
            <a:xfrm flipH="1">
              <a:off x="4879608" y="3327689"/>
              <a:ext cx="457812" cy="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Verbinder: gewinkelt 26">
              <a:extLst>
                <a:ext uri="{FF2B5EF4-FFF2-40B4-BE49-F238E27FC236}">
                  <a16:creationId xmlns:a16="http://schemas.microsoft.com/office/drawing/2014/main" id="{99BE78DF-CE84-4E38-B833-DD1C994E33FF}"/>
                </a:ext>
              </a:extLst>
            </p:cNvPr>
            <p:cNvCxnSpPr>
              <a:cxnSpLocks/>
              <a:stCxn id="17" idx="4"/>
              <a:endCxn id="72" idx="0"/>
            </p:cNvCxnSpPr>
            <p:nvPr/>
          </p:nvCxnSpPr>
          <p:spPr>
            <a:xfrm>
              <a:off x="4789688" y="2684779"/>
              <a:ext cx="1647971" cy="176579"/>
            </a:xfrm>
            <a:prstGeom prst="bentConnector2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Verbinder: gewinkelt 27">
              <a:extLst>
                <a:ext uri="{FF2B5EF4-FFF2-40B4-BE49-F238E27FC236}">
                  <a16:creationId xmlns:a16="http://schemas.microsoft.com/office/drawing/2014/main" id="{581BDE32-3660-4C7F-9857-9D6EDD79AE2F}"/>
                </a:ext>
              </a:extLst>
            </p:cNvPr>
            <p:cNvCxnSpPr>
              <a:cxnSpLocks/>
              <a:stCxn id="17" idx="2"/>
              <a:endCxn id="53" idx="0"/>
            </p:cNvCxnSpPr>
            <p:nvPr/>
          </p:nvCxnSpPr>
          <p:spPr>
            <a:xfrm rot="10800000" flipV="1">
              <a:off x="1651956" y="2684779"/>
              <a:ext cx="1697572" cy="176580"/>
            </a:xfrm>
            <a:prstGeom prst="bentConnector2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Flussdiagramm: Magnetplattenspeicher 37">
              <a:extLst>
                <a:ext uri="{FF2B5EF4-FFF2-40B4-BE49-F238E27FC236}">
                  <a16:creationId xmlns:a16="http://schemas.microsoft.com/office/drawing/2014/main" id="{6B7C55AE-7766-4A5F-A935-BDF760673970}"/>
                </a:ext>
              </a:extLst>
            </p:cNvPr>
            <p:cNvSpPr/>
            <p:nvPr/>
          </p:nvSpPr>
          <p:spPr>
            <a:xfrm>
              <a:off x="3349528" y="5561892"/>
              <a:ext cx="1440160" cy="476876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de-DE" sz="1200" b="1" dirty="0"/>
                <a:t>Strukturdaten</a:t>
              </a:r>
              <a:endParaRPr lang="de-DE" sz="1200" b="1" dirty="0">
                <a:solidFill>
                  <a:schemeClr val="dk1"/>
                </a:solidFill>
              </a:endParaRPr>
            </a:p>
          </p:txBody>
        </p:sp>
        <p:cxnSp>
          <p:nvCxnSpPr>
            <p:cNvPr id="41" name="Gerade Verbindung mit Pfeil 40">
              <a:extLst>
                <a:ext uri="{FF2B5EF4-FFF2-40B4-BE49-F238E27FC236}">
                  <a16:creationId xmlns:a16="http://schemas.microsoft.com/office/drawing/2014/main" id="{4F2F8343-A327-4FE7-8079-A3EDB2F845AB}"/>
                </a:ext>
              </a:extLst>
            </p:cNvPr>
            <p:cNvCxnSpPr>
              <a:cxnSpLocks/>
              <a:stCxn id="38" idx="1"/>
              <a:endCxn id="7" idx="2"/>
            </p:cNvCxnSpPr>
            <p:nvPr/>
          </p:nvCxnSpPr>
          <p:spPr>
            <a:xfrm flipV="1">
              <a:off x="4069608" y="5298596"/>
              <a:ext cx="0" cy="263296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Verbinder: gewinkelt 46">
              <a:extLst>
                <a:ext uri="{FF2B5EF4-FFF2-40B4-BE49-F238E27FC236}">
                  <a16:creationId xmlns:a16="http://schemas.microsoft.com/office/drawing/2014/main" id="{F242753A-629F-47AD-BDFA-672F06E0C337}"/>
                </a:ext>
              </a:extLst>
            </p:cNvPr>
            <p:cNvCxnSpPr>
              <a:cxnSpLocks/>
              <a:stCxn id="38" idx="2"/>
              <a:endCxn id="53" idx="2"/>
            </p:cNvCxnSpPr>
            <p:nvPr/>
          </p:nvCxnSpPr>
          <p:spPr>
            <a:xfrm rot="10800000">
              <a:off x="1651956" y="5518292"/>
              <a:ext cx="1697572" cy="282039"/>
            </a:xfrm>
            <a:prstGeom prst="bentConnector2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Verbinder: gewinkelt 49">
              <a:extLst>
                <a:ext uri="{FF2B5EF4-FFF2-40B4-BE49-F238E27FC236}">
                  <a16:creationId xmlns:a16="http://schemas.microsoft.com/office/drawing/2014/main" id="{BEB02245-B7B8-4219-9285-95E5FD932FB5}"/>
                </a:ext>
              </a:extLst>
            </p:cNvPr>
            <p:cNvCxnSpPr>
              <a:cxnSpLocks/>
              <a:stCxn id="38" idx="4"/>
              <a:endCxn id="72" idx="2"/>
            </p:cNvCxnSpPr>
            <p:nvPr/>
          </p:nvCxnSpPr>
          <p:spPr>
            <a:xfrm flipV="1">
              <a:off x="4789688" y="5518291"/>
              <a:ext cx="1647971" cy="282039"/>
            </a:xfrm>
            <a:prstGeom prst="bentConnector2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E0911009-E212-4A27-ACCF-BC4395580D2F}"/>
                </a:ext>
              </a:extLst>
            </p:cNvPr>
            <p:cNvSpPr/>
            <p:nvPr/>
          </p:nvSpPr>
          <p:spPr>
            <a:xfrm>
              <a:off x="613224" y="2861359"/>
              <a:ext cx="2077464" cy="265693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Erzeugung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FA60D33F-89D8-4B59-B666-923C08B1F48B}"/>
                </a:ext>
              </a:extLst>
            </p:cNvPr>
            <p:cNvCxnSpPr>
              <a:cxnSpLocks/>
              <a:stCxn id="2" idx="1"/>
            </p:cNvCxnSpPr>
            <p:nvPr/>
          </p:nvCxnSpPr>
          <p:spPr>
            <a:xfrm flipH="1">
              <a:off x="2729188" y="3327689"/>
              <a:ext cx="53042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F0AE3269-EC91-4764-A633-536CED0454BA}"/>
                </a:ext>
              </a:extLst>
            </p:cNvPr>
            <p:cNvSpPr/>
            <p:nvPr/>
          </p:nvSpPr>
          <p:spPr>
            <a:xfrm>
              <a:off x="5375920" y="2861358"/>
              <a:ext cx="2123477" cy="2656933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Nachfrage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16957A56-6A8F-46D2-B92F-F76BA3A697AB}"/>
                </a:ext>
              </a:extLst>
            </p:cNvPr>
            <p:cNvSpPr/>
            <p:nvPr/>
          </p:nvSpPr>
          <p:spPr>
            <a:xfrm>
              <a:off x="5611991" y="4060019"/>
              <a:ext cx="1620000" cy="504056"/>
            </a:xfrm>
            <a:prstGeom prst="rect">
              <a:avLst/>
            </a:prstGeom>
            <a:ln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 err="1"/>
                <a:t>Prosumer</a:t>
              </a:r>
              <a:endParaRPr lang="de-DE" sz="1200" b="1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A625CE0F-E3F9-456F-8738-787F78CDEC40}"/>
                </a:ext>
              </a:extLst>
            </p:cNvPr>
            <p:cNvSpPr/>
            <p:nvPr/>
          </p:nvSpPr>
          <p:spPr>
            <a:xfrm>
              <a:off x="5611991" y="4842376"/>
              <a:ext cx="1620000" cy="504056"/>
            </a:xfrm>
            <a:prstGeom prst="rect">
              <a:avLst/>
            </a:prstGeom>
            <a:ln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Export</a:t>
              </a:r>
            </a:p>
          </p:txBody>
        </p:sp>
        <p:sp>
          <p:nvSpPr>
            <p:cNvPr id="103" name="Rechteck 102">
              <a:extLst>
                <a:ext uri="{FF2B5EF4-FFF2-40B4-BE49-F238E27FC236}">
                  <a16:creationId xmlns:a16="http://schemas.microsoft.com/office/drawing/2014/main" id="{50DD6E89-D219-4120-B230-C67BD0AF52B4}"/>
                </a:ext>
              </a:extLst>
            </p:cNvPr>
            <p:cNvSpPr/>
            <p:nvPr/>
          </p:nvSpPr>
          <p:spPr>
            <a:xfrm>
              <a:off x="841956" y="4781000"/>
              <a:ext cx="1620000" cy="504056"/>
            </a:xfrm>
            <a:prstGeom prst="rect">
              <a:avLst/>
            </a:prstGeom>
            <a:ln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/>
                <a:t>Import</a:t>
              </a:r>
            </a:p>
          </p:txBody>
        </p:sp>
        <p:cxnSp>
          <p:nvCxnSpPr>
            <p:cNvPr id="106" name="Gerade Verbindung mit Pfeil 105">
              <a:extLst>
                <a:ext uri="{FF2B5EF4-FFF2-40B4-BE49-F238E27FC236}">
                  <a16:creationId xmlns:a16="http://schemas.microsoft.com/office/drawing/2014/main" id="{43461AC1-3235-48E0-BEF3-FFE2E6DB3749}"/>
                </a:ext>
              </a:extLst>
            </p:cNvPr>
            <p:cNvCxnSpPr>
              <a:cxnSpLocks/>
              <a:stCxn id="7" idx="1"/>
            </p:cNvCxnSpPr>
            <p:nvPr/>
          </p:nvCxnSpPr>
          <p:spPr>
            <a:xfrm flipH="1">
              <a:off x="2690688" y="5046568"/>
              <a:ext cx="56892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mit Pfeil 110">
              <a:extLst>
                <a:ext uri="{FF2B5EF4-FFF2-40B4-BE49-F238E27FC236}">
                  <a16:creationId xmlns:a16="http://schemas.microsoft.com/office/drawing/2014/main" id="{1C91B716-764F-4847-997D-1ECD617233B3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 flipV="1">
              <a:off x="4879608" y="5030143"/>
              <a:ext cx="496312" cy="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Flussdiagramm: Magnetplattenspeicher 119">
              <a:extLst>
                <a:ext uri="{FF2B5EF4-FFF2-40B4-BE49-F238E27FC236}">
                  <a16:creationId xmlns:a16="http://schemas.microsoft.com/office/drawing/2014/main" id="{9F84DD55-CA2C-4CAA-8968-D7A565C4A209}"/>
                </a:ext>
              </a:extLst>
            </p:cNvPr>
            <p:cNvSpPr/>
            <p:nvPr/>
          </p:nvSpPr>
          <p:spPr>
            <a:xfrm>
              <a:off x="3349528" y="3978017"/>
              <a:ext cx="1440160" cy="427973"/>
            </a:xfrm>
            <a:prstGeom prst="flowChartMagneticDisk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de-DE" sz="1200" b="1" dirty="0"/>
                <a:t>Ergebnisse</a:t>
              </a:r>
              <a:endParaRPr lang="de-DE" sz="1200" b="1" dirty="0">
                <a:solidFill>
                  <a:schemeClr val="dk1"/>
                </a:solidFill>
              </a:endParaRPr>
            </a:p>
          </p:txBody>
        </p:sp>
        <p:cxnSp>
          <p:nvCxnSpPr>
            <p:cNvPr id="121" name="Gerade Verbindung mit Pfeil 120">
              <a:extLst>
                <a:ext uri="{FF2B5EF4-FFF2-40B4-BE49-F238E27FC236}">
                  <a16:creationId xmlns:a16="http://schemas.microsoft.com/office/drawing/2014/main" id="{27F40368-427E-4F34-A536-2541C47861A5}"/>
                </a:ext>
              </a:extLst>
            </p:cNvPr>
            <p:cNvCxnSpPr>
              <a:cxnSpLocks/>
              <a:stCxn id="7" idx="0"/>
              <a:endCxn id="120" idx="3"/>
            </p:cNvCxnSpPr>
            <p:nvPr/>
          </p:nvCxnSpPr>
          <p:spPr>
            <a:xfrm flipV="1">
              <a:off x="4069608" y="4405990"/>
              <a:ext cx="0" cy="38855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mit Pfeil 123">
              <a:extLst>
                <a:ext uri="{FF2B5EF4-FFF2-40B4-BE49-F238E27FC236}">
                  <a16:creationId xmlns:a16="http://schemas.microsoft.com/office/drawing/2014/main" id="{34E7A106-7415-4F30-8A88-B80522B1DBF0}"/>
                </a:ext>
              </a:extLst>
            </p:cNvPr>
            <p:cNvCxnSpPr>
              <a:cxnSpLocks/>
              <a:stCxn id="2" idx="2"/>
              <a:endCxn id="120" idx="1"/>
            </p:cNvCxnSpPr>
            <p:nvPr/>
          </p:nvCxnSpPr>
          <p:spPr>
            <a:xfrm>
              <a:off x="4069608" y="3579717"/>
              <a:ext cx="0" cy="398300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mit Pfeil 126">
              <a:extLst>
                <a:ext uri="{FF2B5EF4-FFF2-40B4-BE49-F238E27FC236}">
                  <a16:creationId xmlns:a16="http://schemas.microsoft.com/office/drawing/2014/main" id="{798F1227-D6EB-441D-B439-34E1879A8FD8}"/>
                </a:ext>
              </a:extLst>
            </p:cNvPr>
            <p:cNvCxnSpPr>
              <a:cxnSpLocks/>
              <a:stCxn id="53" idx="3"/>
              <a:endCxn id="120" idx="2"/>
            </p:cNvCxnSpPr>
            <p:nvPr/>
          </p:nvCxnSpPr>
          <p:spPr>
            <a:xfrm>
              <a:off x="2690688" y="4189825"/>
              <a:ext cx="658840" cy="2179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mit Pfeil 129">
              <a:extLst>
                <a:ext uri="{FF2B5EF4-FFF2-40B4-BE49-F238E27FC236}">
                  <a16:creationId xmlns:a16="http://schemas.microsoft.com/office/drawing/2014/main" id="{EBAA3BC7-4411-4229-AEB3-0540E7981F31}"/>
                </a:ext>
              </a:extLst>
            </p:cNvPr>
            <p:cNvCxnSpPr>
              <a:cxnSpLocks/>
              <a:stCxn id="72" idx="1"/>
              <a:endCxn id="120" idx="4"/>
            </p:cNvCxnSpPr>
            <p:nvPr/>
          </p:nvCxnSpPr>
          <p:spPr>
            <a:xfrm flipH="1">
              <a:off x="4789688" y="4189825"/>
              <a:ext cx="586232" cy="2179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20C6A134-E24B-4717-BFA0-D96ECE551242}"/>
                </a:ext>
              </a:extLst>
            </p:cNvPr>
            <p:cNvSpPr/>
            <p:nvPr/>
          </p:nvSpPr>
          <p:spPr>
            <a:xfrm>
              <a:off x="2893416" y="2012265"/>
              <a:ext cx="2352383" cy="296775"/>
            </a:xfrm>
            <a:prstGeom prst="rect">
              <a:avLst/>
            </a:prstGeom>
            <a:ln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200" b="1" dirty="0" err="1"/>
                <a:t>Investionsplaner</a:t>
              </a:r>
              <a:endParaRPr lang="de-DE" sz="1200" b="1" dirty="0"/>
            </a:p>
          </p:txBody>
        </p:sp>
        <p:cxnSp>
          <p:nvCxnSpPr>
            <p:cNvPr id="138" name="Verbinder: gewinkelt 137">
              <a:extLst>
                <a:ext uri="{FF2B5EF4-FFF2-40B4-BE49-F238E27FC236}">
                  <a16:creationId xmlns:a16="http://schemas.microsoft.com/office/drawing/2014/main" id="{EABFA874-8AF5-42C4-B1EE-7C12A3D3499E}"/>
                </a:ext>
              </a:extLst>
            </p:cNvPr>
            <p:cNvCxnSpPr>
              <a:cxnSpLocks/>
              <a:stCxn id="137" idx="3"/>
            </p:cNvCxnSpPr>
            <p:nvPr/>
          </p:nvCxnSpPr>
          <p:spPr>
            <a:xfrm>
              <a:off x="5245799" y="2160653"/>
              <a:ext cx="1953802" cy="706836"/>
            </a:xfrm>
            <a:prstGeom prst="bentConnector3">
              <a:avLst>
                <a:gd name="adj1" fmla="val 100051"/>
              </a:avLst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Verbinder: gewinkelt 144">
              <a:extLst>
                <a:ext uri="{FF2B5EF4-FFF2-40B4-BE49-F238E27FC236}">
                  <a16:creationId xmlns:a16="http://schemas.microsoft.com/office/drawing/2014/main" id="{F0221AEE-D4B5-4F0D-8A3F-812AC2E0F4CE}"/>
                </a:ext>
              </a:extLst>
            </p:cNvPr>
            <p:cNvCxnSpPr>
              <a:cxnSpLocks/>
              <a:stCxn id="137" idx="1"/>
            </p:cNvCxnSpPr>
            <p:nvPr/>
          </p:nvCxnSpPr>
          <p:spPr>
            <a:xfrm rot="10800000" flipV="1">
              <a:off x="911424" y="2160652"/>
              <a:ext cx="1981992" cy="700705"/>
            </a:xfrm>
            <a:prstGeom prst="bentConnector3">
              <a:avLst>
                <a:gd name="adj1" fmla="val 99980"/>
              </a:avLst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" name="Textplatzhalter 3">
            <a:extLst>
              <a:ext uri="{FF2B5EF4-FFF2-40B4-BE49-F238E27FC236}">
                <a16:creationId xmlns:a16="http://schemas.microsoft.com/office/drawing/2014/main" id="{4F75921F-07A7-4FD6-AA00-D12884C1203F}"/>
              </a:ext>
            </a:extLst>
          </p:cNvPr>
          <p:cNvSpPr txBox="1">
            <a:spLocks/>
          </p:cNvSpPr>
          <p:nvPr/>
        </p:nvSpPr>
        <p:spPr>
          <a:xfrm>
            <a:off x="7785832" y="2090402"/>
            <a:ext cx="3628567" cy="3886811"/>
          </a:xfrm>
          <a:prstGeom prst="rect">
            <a:avLst/>
          </a:prstGeom>
        </p:spPr>
        <p:txBody>
          <a:bodyPr anchor="t"/>
          <a:lstStyle>
            <a:lvl1pPr marL="285750" indent="-285750" algn="l" rtl="0" eaLnBrk="1" fontAlgn="base" hangingPunct="1">
              <a:spcBef>
                <a:spcPct val="20000"/>
              </a:spcBef>
              <a:spcAft>
                <a:spcPts val="600"/>
              </a:spcAft>
              <a:buClr>
                <a:srgbClr val="00B1AC"/>
              </a:buClr>
              <a:buFont typeface="Wingdings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ts val="600"/>
              </a:spcAft>
              <a:buClr>
                <a:srgbClr val="7F7F7F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rtl="0" eaLnBrk="1" fontAlgn="base" hangingPunct="1">
              <a:spcBef>
                <a:spcPct val="20000"/>
              </a:spcBef>
              <a:spcAft>
                <a:spcPts val="600"/>
              </a:spcAft>
              <a:buClr>
                <a:srgbClr val="7F7F7F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3050" indent="-171450" algn="l" rtl="0" eaLnBrk="1" fontAlgn="base" hangingPunct="1">
              <a:spcBef>
                <a:spcPct val="20000"/>
              </a:spcBef>
              <a:spcAft>
                <a:spcPts val="600"/>
              </a:spcAft>
              <a:buClr>
                <a:srgbClr val="7F7F7F"/>
              </a:buClr>
              <a:buFont typeface="Wingdings" pitchFamily="2" charset="2"/>
              <a:buChar char="n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0250" indent="-171450" algn="l" rtl="0" eaLnBrk="1" fontAlgn="base" hangingPunct="1">
              <a:spcBef>
                <a:spcPct val="20000"/>
              </a:spcBef>
              <a:spcAft>
                <a:spcPts val="600"/>
              </a:spcAft>
              <a:buClr>
                <a:srgbClr val="7F7F7F"/>
              </a:buClr>
              <a:buFont typeface="Wingdings" pitchFamily="2" charset="2"/>
              <a:buChar char="n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Fragestellungen &amp; Ziele:</a:t>
            </a:r>
          </a:p>
          <a:p>
            <a:r>
              <a:rPr lang="de-DE" dirty="0"/>
              <a:t>Welche Folgen hat eine elastische Nachfrage auf den Energiepreis und die Systemkosten?</a:t>
            </a:r>
          </a:p>
          <a:p>
            <a:r>
              <a:rPr lang="de-DE" dirty="0"/>
              <a:t>Wie entwickeln sich die volkwirtschaftlichen Gesamtkosten?</a:t>
            </a:r>
          </a:p>
          <a:p>
            <a:r>
              <a:rPr lang="de-DE" dirty="0"/>
              <a:t>Bewertung von verschiedenen Energiesystemen.</a:t>
            </a:r>
          </a:p>
        </p:txBody>
      </p:sp>
    </p:spTree>
    <p:extLst>
      <p:ext uri="{BB962C8B-B14F-4D97-AF65-F5344CB8AC3E}">
        <p14:creationId xmlns:p14="http://schemas.microsoft.com/office/powerpoint/2010/main" val="29435091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A71D1AB-477A-42B3-A88F-AFB6391E3BC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AACC76-69E0-45E5-8DA6-DB7773D4821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7E0E8F57-5B1D-4002-9210-FB50A74F8269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E980E-1C2E-4802-9FEA-2AAD4B91F8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E6B366-A7A8-48A5-B418-349674F737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0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1B4CE0-2895-42A4-872A-9BB903600A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Agenten führen eine Tabelle, in der sie je nach Zustand die Ergebnisse der Aktionen notieren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15B5C1-E023-476E-AB6B-AF2F677CC08C}"/>
              </a:ext>
            </a:extLst>
          </p:cNvPr>
          <p:cNvSpPr/>
          <p:nvPr/>
        </p:nvSpPr>
        <p:spPr>
          <a:xfrm>
            <a:off x="571064" y="2010740"/>
            <a:ext cx="4876863" cy="350649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400" dirty="0"/>
              <a:t>PWP Agent</a:t>
            </a:r>
          </a:p>
        </p:txBody>
      </p:sp>
      <p:cxnSp>
        <p:nvCxnSpPr>
          <p:cNvPr id="26" name="Gewinkelter Verbinder 32">
            <a:extLst>
              <a:ext uri="{FF2B5EF4-FFF2-40B4-BE49-F238E27FC236}">
                <a16:creationId xmlns:a16="http://schemas.microsoft.com/office/drawing/2014/main" id="{9FCFEBA8-67BA-484F-B0A9-5F034426BC77}"/>
              </a:ext>
            </a:extLst>
          </p:cNvPr>
          <p:cNvCxnSpPr>
            <a:cxnSpLocks/>
            <a:stCxn id="37" idx="2"/>
            <a:endCxn id="8" idx="2"/>
          </p:cNvCxnSpPr>
          <p:nvPr/>
        </p:nvCxnSpPr>
        <p:spPr>
          <a:xfrm rot="5400000">
            <a:off x="6418069" y="1570365"/>
            <a:ext cx="538292" cy="7355438"/>
          </a:xfrm>
          <a:prstGeom prst="bentConnector3">
            <a:avLst>
              <a:gd name="adj1" fmla="val 142468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22884534-C9F7-4A56-A1D3-E1E73D0B4A64}"/>
              </a:ext>
            </a:extLst>
          </p:cNvPr>
          <p:cNvSpPr txBox="1"/>
          <p:nvPr/>
        </p:nvSpPr>
        <p:spPr>
          <a:xfrm>
            <a:off x="4112025" y="5805987"/>
            <a:ext cx="4759636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lohnung des Agent durch Gewinne bzw. 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zuschlagte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ebot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92FF566-BD01-4B41-9456-F770B37AB2D6}"/>
              </a:ext>
            </a:extLst>
          </p:cNvPr>
          <p:cNvSpPr txBox="1"/>
          <p:nvPr/>
        </p:nvSpPr>
        <p:spPr>
          <a:xfrm>
            <a:off x="6269435" y="4297766"/>
            <a:ext cx="2034531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iel: 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winnmaximier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CF10B24-5692-4E4E-B6A9-B42BD02C5078}"/>
              </a:ext>
            </a:extLst>
          </p:cNvPr>
          <p:cNvSpPr txBox="1"/>
          <p:nvPr/>
        </p:nvSpPr>
        <p:spPr>
          <a:xfrm>
            <a:off x="3920425" y="5116722"/>
            <a:ext cx="1331251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Wiederholungen zur Strategieentwicklung 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2E6B07-7F16-43D0-A469-B9B86EBA8232}"/>
              </a:ext>
            </a:extLst>
          </p:cNvPr>
          <p:cNvSpPr/>
          <p:nvPr/>
        </p:nvSpPr>
        <p:spPr>
          <a:xfrm>
            <a:off x="9330658" y="3547918"/>
            <a:ext cx="2068551" cy="14310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dirty="0" err="1"/>
              <a:t>DayAhead</a:t>
            </a:r>
            <a:r>
              <a:rPr lang="de-DE" sz="1400" dirty="0"/>
              <a:t> Markt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45A4A20C-ED1D-4A79-BD5A-C585B2E17DEB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5447927" y="4263428"/>
            <a:ext cx="3882731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Grafik 24" descr="Angebot und Nachfrage">
            <a:extLst>
              <a:ext uri="{FF2B5EF4-FFF2-40B4-BE49-F238E27FC236}">
                <a16:creationId xmlns:a16="http://schemas.microsoft.com/office/drawing/2014/main" id="{ABEC3EC2-A703-4629-AD99-B97BC98A5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28526" y="3853873"/>
            <a:ext cx="974003" cy="974003"/>
          </a:xfrm>
          <a:prstGeom prst="rect">
            <a:avLst/>
          </a:prstGeom>
        </p:spPr>
      </p:pic>
      <p:graphicFrame>
        <p:nvGraphicFramePr>
          <p:cNvPr id="3" name="Tabelle 8">
            <a:extLst>
              <a:ext uri="{FF2B5EF4-FFF2-40B4-BE49-F238E27FC236}">
                <a16:creationId xmlns:a16="http://schemas.microsoft.com/office/drawing/2014/main" id="{251FCE71-30A8-4850-BB68-65EA90C7A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21202"/>
              </p:ext>
            </p:extLst>
          </p:nvPr>
        </p:nvGraphicFramePr>
        <p:xfrm>
          <a:off x="828109" y="2516877"/>
          <a:ext cx="4390909" cy="2366819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67609">
                  <a:extLst>
                    <a:ext uri="{9D8B030D-6E8A-4147-A177-3AD203B41FA5}">
                      <a16:colId xmlns:a16="http://schemas.microsoft.com/office/drawing/2014/main" val="3530905992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586834477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84769183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3032468471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2529342836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2189437811"/>
                    </a:ext>
                  </a:extLst>
                </a:gridCol>
              </a:tblGrid>
              <a:tr h="179075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lvl="3"/>
                      <a:r>
                        <a:rPr lang="de-DE" sz="1200" dirty="0"/>
                        <a:t>Ak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0382375"/>
                  </a:ext>
                </a:extLst>
              </a:tr>
              <a:tr h="442275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1</a:t>
                      </a:r>
                      <a:endParaRPr lang="de-DE" sz="12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2</a:t>
                      </a:r>
                      <a:endParaRPr lang="de-DE" sz="12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…</a:t>
                      </a:r>
                      <a:endParaRPr lang="de-DE" sz="12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8</a:t>
                      </a:r>
                      <a:endParaRPr lang="de-DE" sz="1200" b="1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4997017"/>
                  </a:ext>
                </a:extLst>
              </a:tr>
              <a:tr h="412556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</a:rPr>
                        <a:t>Zustand</a:t>
                      </a:r>
                    </a:p>
                  </a:txBody>
                  <a:tcPr vert="vert27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87990446"/>
                  </a:ext>
                </a:extLst>
              </a:tr>
              <a:tr h="412556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3274832"/>
                  </a:ext>
                </a:extLst>
              </a:tr>
              <a:tr h="412556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9499135"/>
                  </a:ext>
                </a:extLst>
              </a:tr>
              <a:tr h="412556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1458371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0F4B3F21-4030-49AB-9524-F52F1BA30575}"/>
              </a:ext>
            </a:extLst>
          </p:cNvPr>
          <p:cNvSpPr/>
          <p:nvPr/>
        </p:nvSpPr>
        <p:spPr>
          <a:xfrm>
            <a:off x="823819" y="3632584"/>
            <a:ext cx="4385468" cy="432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F3DBD43-348D-4D78-82AD-B5DC1685A73F}"/>
              </a:ext>
            </a:extLst>
          </p:cNvPr>
          <p:cNvSpPr/>
          <p:nvPr/>
        </p:nvSpPr>
        <p:spPr>
          <a:xfrm rot="16200000">
            <a:off x="1865201" y="2753249"/>
            <a:ext cx="432001" cy="5123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5041E5A5-8553-435B-8DDE-DEC7B8E94CEF}"/>
              </a:ext>
            </a:extLst>
          </p:cNvPr>
          <p:cNvGrpSpPr/>
          <p:nvPr/>
        </p:nvGrpSpPr>
        <p:grpSpPr>
          <a:xfrm>
            <a:off x="6288787" y="3466634"/>
            <a:ext cx="1931726" cy="654706"/>
            <a:chOff x="6288787" y="3466634"/>
            <a:chExt cx="1931726" cy="654706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21456136-4FCB-4D1C-8D9E-C1DB70E24DB1}"/>
                </a:ext>
              </a:extLst>
            </p:cNvPr>
            <p:cNvGrpSpPr/>
            <p:nvPr/>
          </p:nvGrpSpPr>
          <p:grpSpPr>
            <a:xfrm>
              <a:off x="6463580" y="3588710"/>
              <a:ext cx="416421" cy="416420"/>
              <a:chOff x="5142477" y="1990430"/>
              <a:chExt cx="3600400" cy="3600400"/>
            </a:xfrm>
          </p:grpSpPr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71EABAC5-2672-4556-8D32-81EFCA437154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E90E2C09-4B13-4F2F-A8A6-114C9021B495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9" name="Ellipse 58">
                <a:extLst>
                  <a:ext uri="{FF2B5EF4-FFF2-40B4-BE49-F238E27FC236}">
                    <a16:creationId xmlns:a16="http://schemas.microsoft.com/office/drawing/2014/main" id="{197C01D7-88B2-431C-90D5-1EE92585ED35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513005DB-8938-4866-9165-F7214ECA83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3E6CD2AF-4CB6-4274-A5D2-1028067BD8F3}"/>
                  </a:ext>
                </a:extLst>
              </p:cNvPr>
              <p:cNvCxnSpPr>
                <a:cxnSpLocks/>
                <a:stCxn id="59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66741379-D972-4FDD-A93B-D38D080FD701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63" name="Gerader Verbinder 62">
                <a:extLst>
                  <a:ext uri="{FF2B5EF4-FFF2-40B4-BE49-F238E27FC236}">
                    <a16:creationId xmlns:a16="http://schemas.microsoft.com/office/drawing/2014/main" id="{65FB4DE7-4823-48CA-A448-A97C4A1671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FB5790DE-1C90-423E-BAA7-DC7E5D56F7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5" name="Ellipse 64">
                <a:extLst>
                  <a:ext uri="{FF2B5EF4-FFF2-40B4-BE49-F238E27FC236}">
                    <a16:creationId xmlns:a16="http://schemas.microsoft.com/office/drawing/2014/main" id="{2E1BEB68-1196-4089-B2C3-5FC71EBA4DE3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15A824B-949E-436D-A8E1-836BA9397254}"/>
                </a:ext>
              </a:extLst>
            </p:cNvPr>
            <p:cNvGrpSpPr/>
            <p:nvPr/>
          </p:nvGrpSpPr>
          <p:grpSpPr>
            <a:xfrm>
              <a:off x="6953137" y="3586461"/>
              <a:ext cx="416421" cy="416420"/>
              <a:chOff x="5142477" y="1990430"/>
              <a:chExt cx="3600400" cy="3600400"/>
            </a:xfrm>
          </p:grpSpPr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2C3AC08C-CD71-4179-9D38-5C71B541EAFB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1C328112-545F-4865-ABB8-441EBE073FA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C977E81B-68BE-469D-8EFC-DCA0FE04AD60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CFA5B6B5-7027-4440-9427-A2BBE5372F4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F4D62F3A-B62A-41B3-AC58-FB617A958CF0}"/>
                  </a:ext>
                </a:extLst>
              </p:cNvPr>
              <p:cNvCxnSpPr>
                <a:cxnSpLocks/>
                <a:stCxn id="50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F48EC8A9-5E12-48D8-8063-85F80393EA01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B5666827-BCB0-4693-8F9D-0E7749256D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7E7164AA-5453-4CC0-885D-524936B510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6" name="Ellipse 55">
                <a:extLst>
                  <a:ext uri="{FF2B5EF4-FFF2-40B4-BE49-F238E27FC236}">
                    <a16:creationId xmlns:a16="http://schemas.microsoft.com/office/drawing/2014/main" id="{B8FA8DF9-A030-4255-B115-376F3A9AA483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22D379BC-DD65-4558-A97B-1939F6FA2B98}"/>
                </a:ext>
              </a:extLst>
            </p:cNvPr>
            <p:cNvGrpSpPr/>
            <p:nvPr/>
          </p:nvGrpSpPr>
          <p:grpSpPr>
            <a:xfrm>
              <a:off x="7432397" y="3581963"/>
              <a:ext cx="416421" cy="416420"/>
              <a:chOff x="5142477" y="1990430"/>
              <a:chExt cx="3600400" cy="3600400"/>
            </a:xfrm>
          </p:grpSpPr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CD59FEE6-E4EB-4955-9BB4-739F0F04795E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514F55F5-FC58-49C0-A9C2-9E5F5A83F7FE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0" name="Ellipse 39">
                <a:extLst>
                  <a:ext uri="{FF2B5EF4-FFF2-40B4-BE49-F238E27FC236}">
                    <a16:creationId xmlns:a16="http://schemas.microsoft.com/office/drawing/2014/main" id="{524D0C45-1046-4899-B1E6-38B8DCE0EE8D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9DDA9023-6608-42D0-B1E8-DDC26A1DBD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32AF582F-7E2A-42F9-9834-981C2F74097A}"/>
                  </a:ext>
                </a:extLst>
              </p:cNvPr>
              <p:cNvCxnSpPr>
                <a:cxnSpLocks/>
                <a:stCxn id="40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8F0ADEBA-A42A-4C79-8528-143992832AF8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B05B6D27-49A8-40EF-8EAE-3915EAB906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3DBD9ED5-920F-4853-8970-D2B05D4AC0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B99D0B9E-757E-47A4-B596-9EE274D0B508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171F529-BFF3-4AC9-AAD3-3A6D5BA131F3}"/>
                </a:ext>
              </a:extLst>
            </p:cNvPr>
            <p:cNvSpPr/>
            <p:nvPr/>
          </p:nvSpPr>
          <p:spPr>
            <a:xfrm>
              <a:off x="6288787" y="3466634"/>
              <a:ext cx="1931726" cy="654706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de-DE" dirty="0">
                  <a:solidFill>
                    <a:schemeClr val="tx1"/>
                  </a:solidFill>
                </a:rPr>
                <a:t>	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0488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A71D1AB-477A-42B3-A88F-AFB6391E3BC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3 – Konventionelle Erzeug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AACC76-69E0-45E5-8DA6-DB7773D4821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DC1073DA-508F-48EA-921C-853500417176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E980E-1C2E-4802-9FEA-2AAD4B91F8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E6B366-A7A8-48A5-B418-349674F737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1B4CE0-2895-42A4-872A-9BB903600AF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Tabelle wird anhand der Handelsergebnisse aktualisiert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15B5C1-E023-476E-AB6B-AF2F677CC08C}"/>
              </a:ext>
            </a:extLst>
          </p:cNvPr>
          <p:cNvSpPr/>
          <p:nvPr/>
        </p:nvSpPr>
        <p:spPr>
          <a:xfrm>
            <a:off x="571064" y="2010740"/>
            <a:ext cx="4876863" cy="350649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sz="1400" dirty="0"/>
              <a:t>PWP Agent</a:t>
            </a:r>
          </a:p>
        </p:txBody>
      </p:sp>
      <p:cxnSp>
        <p:nvCxnSpPr>
          <p:cNvPr id="26" name="Gewinkelter Verbinder 32">
            <a:extLst>
              <a:ext uri="{FF2B5EF4-FFF2-40B4-BE49-F238E27FC236}">
                <a16:creationId xmlns:a16="http://schemas.microsoft.com/office/drawing/2014/main" id="{9FCFEBA8-67BA-484F-B0A9-5F034426BC77}"/>
              </a:ext>
            </a:extLst>
          </p:cNvPr>
          <p:cNvCxnSpPr>
            <a:cxnSpLocks/>
            <a:stCxn id="37" idx="2"/>
            <a:endCxn id="8" idx="2"/>
          </p:cNvCxnSpPr>
          <p:nvPr/>
        </p:nvCxnSpPr>
        <p:spPr>
          <a:xfrm rot="5400000">
            <a:off x="6418069" y="1570365"/>
            <a:ext cx="538292" cy="7355438"/>
          </a:xfrm>
          <a:prstGeom prst="bentConnector3">
            <a:avLst>
              <a:gd name="adj1" fmla="val 142468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22884534-C9F7-4A56-A1D3-E1E73D0B4A64}"/>
              </a:ext>
            </a:extLst>
          </p:cNvPr>
          <p:cNvSpPr txBox="1"/>
          <p:nvPr/>
        </p:nvSpPr>
        <p:spPr>
          <a:xfrm>
            <a:off x="4112025" y="5805987"/>
            <a:ext cx="4759636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lohnung des Agent durch Gewinne bzw. 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zuschlagte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ebot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92FF566-BD01-4B41-9456-F770B37AB2D6}"/>
              </a:ext>
            </a:extLst>
          </p:cNvPr>
          <p:cNvSpPr txBox="1"/>
          <p:nvPr/>
        </p:nvSpPr>
        <p:spPr>
          <a:xfrm>
            <a:off x="6269435" y="4297766"/>
            <a:ext cx="2034531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iel: 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winnmaximieru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CF10B24-5692-4E4E-B6A9-B42BD02C5078}"/>
              </a:ext>
            </a:extLst>
          </p:cNvPr>
          <p:cNvSpPr txBox="1"/>
          <p:nvPr/>
        </p:nvSpPr>
        <p:spPr>
          <a:xfrm>
            <a:off x="3920425" y="5116722"/>
            <a:ext cx="1331251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Wiederholungen zur Strategieentwicklung 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82E6B07-7F16-43D0-A469-B9B86EBA8232}"/>
              </a:ext>
            </a:extLst>
          </p:cNvPr>
          <p:cNvSpPr/>
          <p:nvPr/>
        </p:nvSpPr>
        <p:spPr>
          <a:xfrm>
            <a:off x="9330658" y="3547918"/>
            <a:ext cx="2068551" cy="14310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dirty="0" err="1"/>
              <a:t>DayAhead</a:t>
            </a:r>
            <a:r>
              <a:rPr lang="de-DE" sz="1400" dirty="0"/>
              <a:t> Markt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45A4A20C-ED1D-4A79-BD5A-C585B2E17DEB}"/>
              </a:ext>
            </a:extLst>
          </p:cNvPr>
          <p:cNvCxnSpPr>
            <a:cxnSpLocks/>
            <a:endCxn id="37" idx="1"/>
          </p:cNvCxnSpPr>
          <p:nvPr/>
        </p:nvCxnSpPr>
        <p:spPr>
          <a:xfrm>
            <a:off x="5447927" y="4263428"/>
            <a:ext cx="3882731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Grafik 24" descr="Angebot und Nachfrage">
            <a:extLst>
              <a:ext uri="{FF2B5EF4-FFF2-40B4-BE49-F238E27FC236}">
                <a16:creationId xmlns:a16="http://schemas.microsoft.com/office/drawing/2014/main" id="{ABEC3EC2-A703-4629-AD99-B97BC98A5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28526" y="3853873"/>
            <a:ext cx="974003" cy="974003"/>
          </a:xfrm>
          <a:prstGeom prst="rect">
            <a:avLst/>
          </a:prstGeom>
        </p:spPr>
      </p:pic>
      <p:graphicFrame>
        <p:nvGraphicFramePr>
          <p:cNvPr id="3" name="Tabelle 8">
            <a:extLst>
              <a:ext uri="{FF2B5EF4-FFF2-40B4-BE49-F238E27FC236}">
                <a16:creationId xmlns:a16="http://schemas.microsoft.com/office/drawing/2014/main" id="{251FCE71-30A8-4850-BB68-65EA90C7ABF7}"/>
              </a:ext>
            </a:extLst>
          </p:cNvPr>
          <p:cNvGraphicFramePr>
            <a:graphicFrameLocks noGrp="1"/>
          </p:cNvGraphicFramePr>
          <p:nvPr/>
        </p:nvGraphicFramePr>
        <p:xfrm>
          <a:off x="828109" y="2516877"/>
          <a:ext cx="4390909" cy="2366819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67609">
                  <a:extLst>
                    <a:ext uri="{9D8B030D-6E8A-4147-A177-3AD203B41FA5}">
                      <a16:colId xmlns:a16="http://schemas.microsoft.com/office/drawing/2014/main" val="3530905992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586834477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84769183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3032468471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2529342836"/>
                    </a:ext>
                  </a:extLst>
                </a:gridCol>
                <a:gridCol w="897813">
                  <a:extLst>
                    <a:ext uri="{9D8B030D-6E8A-4147-A177-3AD203B41FA5}">
                      <a16:colId xmlns:a16="http://schemas.microsoft.com/office/drawing/2014/main" val="2189437811"/>
                    </a:ext>
                  </a:extLst>
                </a:gridCol>
              </a:tblGrid>
              <a:tr h="179075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lvl="3"/>
                      <a:r>
                        <a:rPr lang="de-DE" sz="1200" dirty="0"/>
                        <a:t>Ak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0382375"/>
                  </a:ext>
                </a:extLst>
              </a:tr>
              <a:tr h="442275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1</a:t>
                      </a:r>
                      <a:endParaRPr lang="de-DE" sz="12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2</a:t>
                      </a:r>
                      <a:endParaRPr lang="de-DE" sz="12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…</a:t>
                      </a:r>
                      <a:endParaRPr lang="de-DE" sz="12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8</a:t>
                      </a:r>
                      <a:endParaRPr lang="de-DE" sz="1200" b="1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4997017"/>
                  </a:ext>
                </a:extLst>
              </a:tr>
              <a:tr h="412556">
                <a:tc rowSpan="4"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</a:rPr>
                        <a:t>Zustand</a:t>
                      </a:r>
                    </a:p>
                  </a:txBody>
                  <a:tcPr vert="vert27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87990446"/>
                  </a:ext>
                </a:extLst>
              </a:tr>
              <a:tr h="412556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-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3274832"/>
                  </a:ext>
                </a:extLst>
              </a:tr>
              <a:tr h="412556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9499135"/>
                  </a:ext>
                </a:extLst>
              </a:tr>
              <a:tr h="412556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1458371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0A825A75-A1E1-413E-9D87-B00AB123312B}"/>
                  </a:ext>
                </a:extLst>
              </p:cNvPr>
              <p:cNvSpPr txBox="1"/>
              <p:nvPr/>
            </p:nvSpPr>
            <p:spPr>
              <a:xfrm>
                <a:off x="823819" y="5116722"/>
                <a:ext cx="2763192" cy="27796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e>
                      <m:sub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2,1</m:t>
                        </m:r>
                      </m:sub>
                    </m:sSub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=</m:t>
                    </m:r>
                  </m:oMath>
                </a14:m>
                <a:r>
                  <a:rPr lang="de-DE" sz="1600" kern="0" dirty="0">
                    <a:solidFill>
                      <a:sysClr val="windowText" lastClr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ker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de-DE" sz="1600" i="1" ker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e>
                      <m:sub>
                        <m:r>
                          <a:rPr lang="de-DE" sz="1600" i="1" ker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2,1</m:t>
                        </m:r>
                      </m:sub>
                    </m:sSub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+</m:t>
                    </m:r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𝛼</m:t>
                    </m:r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∙</m:t>
                    </m:r>
                    <m:d>
                      <m:dPr>
                        <m:ctrlP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dPr>
                      <m:e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𝑝𝑟𝑜𝑓𝑖𝑡</m:t>
                        </m:r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−</m:t>
                        </m:r>
                        <m:sSub>
                          <m:sSubPr>
                            <m:ctrlPr>
                              <a:rPr lang="de-DE" sz="1600" b="0" i="1" kern="0" smtClean="0">
                                <a:solidFill>
                                  <a:sysClr val="windowText" lastClr="000000"/>
                                </a:solidFill>
                                <a:latin typeface="Cambria Math" panose="02040503050406030204" pitchFamily="18" charset="0"/>
                                <a:ea typeface="Verdana" panose="020B0604030504040204" pitchFamily="34" charset="0"/>
                                <a:cs typeface="Verdana" panose="020B0604030504040204" pitchFamily="34" charset="0"/>
                              </a:rPr>
                            </m:ctrlPr>
                          </m:sSubPr>
                          <m:e>
                            <m:r>
                              <a:rPr lang="de-DE" sz="1600" b="0" i="1" kern="0" smtClean="0">
                                <a:solidFill>
                                  <a:sysClr val="windowText" lastClr="000000"/>
                                </a:solidFill>
                                <a:latin typeface="Cambria Math" panose="02040503050406030204" pitchFamily="18" charset="0"/>
                                <a:ea typeface="Verdana" panose="020B0604030504040204" pitchFamily="34" charset="0"/>
                                <a:cs typeface="Verdana" panose="020B0604030504040204" pitchFamily="34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b="0" i="1" kern="0" smtClean="0">
                                <a:solidFill>
                                  <a:sysClr val="windowText" lastClr="000000"/>
                                </a:solidFill>
                                <a:latin typeface="Cambria Math" panose="02040503050406030204" pitchFamily="18" charset="0"/>
                                <a:ea typeface="Verdana" panose="020B0604030504040204" pitchFamily="34" charset="0"/>
                                <a:cs typeface="Verdana" panose="020B0604030504040204" pitchFamily="34" charset="0"/>
                              </a:rPr>
                              <m:t>2,1</m:t>
                            </m:r>
                          </m:sub>
                        </m:sSub>
                      </m:e>
                    </m:d>
                  </m:oMath>
                </a14:m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0A825A75-A1E1-413E-9D87-B00AB12331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3819" y="5116722"/>
                <a:ext cx="2763192" cy="277961"/>
              </a:xfrm>
              <a:prstGeom prst="rect">
                <a:avLst/>
              </a:prstGeom>
              <a:blipFill>
                <a:blip r:embed="rId4"/>
                <a:stretch>
                  <a:fillRect l="-2649" b="-26087"/>
                </a:stretch>
              </a:blipFill>
              <a:ln>
                <a:noFill/>
                <a:prstDash val="soli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D537CD1-3444-4864-B3C7-A4CB7509F9D3}"/>
              </a:ext>
            </a:extLst>
          </p:cNvPr>
          <p:cNvCxnSpPr>
            <a:cxnSpLocks/>
          </p:cNvCxnSpPr>
          <p:nvPr/>
        </p:nvCxnSpPr>
        <p:spPr>
          <a:xfrm flipV="1">
            <a:off x="2081201" y="4062806"/>
            <a:ext cx="1" cy="105391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879FC18F-5C0F-45B0-B44F-2636D119C736}"/>
                  </a:ext>
                </a:extLst>
              </p:cNvPr>
              <p:cNvSpPr txBox="1"/>
              <p:nvPr/>
            </p:nvSpPr>
            <p:spPr>
              <a:xfrm>
                <a:off x="823819" y="5137690"/>
                <a:ext cx="2763192" cy="25699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e>
                      <m:sub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2,1</m:t>
                        </m:r>
                      </m:sub>
                    </m:sSub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=</m:t>
                    </m:r>
                  </m:oMath>
                </a14:m>
                <a:r>
                  <a:rPr lang="de-DE" sz="1600" kern="0" dirty="0">
                    <a:solidFill>
                      <a:sysClr val="windowText" lastClr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8+0.5∙</m:t>
                    </m:r>
                    <m:d>
                      <m:dPr>
                        <m:ctrlP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dPr>
                      <m:e>
                        <m:r>
                          <a:rPr lang="de-DE" sz="1600" b="0" i="1" kern="0" smtClean="0">
                            <a:solidFill>
                              <a:sysClr val="windowText" lastClr="000000"/>
                            </a:solidFill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9−8</m:t>
                        </m:r>
                      </m:e>
                    </m:d>
                    <m:r>
                      <a:rPr lang="de-DE" sz="1600" b="0" i="1" kern="0" smtClean="0">
                        <a:solidFill>
                          <a:sysClr val="windowText" lastClr="000000"/>
                        </a:solidFill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=8.5    </m:t>
                    </m:r>
                  </m:oMath>
                </a14:m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879FC18F-5C0F-45B0-B44F-2636D119C7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3819" y="5137690"/>
                <a:ext cx="2763192" cy="256993"/>
              </a:xfrm>
              <a:prstGeom prst="rect">
                <a:avLst/>
              </a:prstGeom>
              <a:blipFill>
                <a:blip r:embed="rId5"/>
                <a:stretch>
                  <a:fillRect l="-2649" b="-21429"/>
                </a:stretch>
              </a:blipFill>
              <a:ln>
                <a:noFill/>
                <a:prstDash val="soli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Rechteck 39">
            <a:extLst>
              <a:ext uri="{FF2B5EF4-FFF2-40B4-BE49-F238E27FC236}">
                <a16:creationId xmlns:a16="http://schemas.microsoft.com/office/drawing/2014/main" id="{61D2485B-7755-4D73-B4D0-0F436B24310B}"/>
              </a:ext>
            </a:extLst>
          </p:cNvPr>
          <p:cNvSpPr/>
          <p:nvPr/>
        </p:nvSpPr>
        <p:spPr>
          <a:xfrm>
            <a:off x="823819" y="3632584"/>
            <a:ext cx="4385468" cy="432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FDCF616D-8AC0-4585-BE8E-CF4E13A2528A}"/>
              </a:ext>
            </a:extLst>
          </p:cNvPr>
          <p:cNvSpPr/>
          <p:nvPr/>
        </p:nvSpPr>
        <p:spPr>
          <a:xfrm rot="16200000">
            <a:off x="1865201" y="2753249"/>
            <a:ext cx="432001" cy="5123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4F98765-6228-4BA6-9607-9839B58C1FBE}"/>
              </a:ext>
            </a:extLst>
          </p:cNvPr>
          <p:cNvGrpSpPr/>
          <p:nvPr/>
        </p:nvGrpSpPr>
        <p:grpSpPr>
          <a:xfrm>
            <a:off x="6288787" y="3466634"/>
            <a:ext cx="1931726" cy="654706"/>
            <a:chOff x="6288787" y="3466634"/>
            <a:chExt cx="1931726" cy="654706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B298FECB-71CF-4805-9F5A-8127AF057D6A}"/>
                </a:ext>
              </a:extLst>
            </p:cNvPr>
            <p:cNvGrpSpPr/>
            <p:nvPr/>
          </p:nvGrpSpPr>
          <p:grpSpPr>
            <a:xfrm>
              <a:off x="6463580" y="3588710"/>
              <a:ext cx="416421" cy="416420"/>
              <a:chOff x="5142477" y="1990430"/>
              <a:chExt cx="3600400" cy="3600400"/>
            </a:xfrm>
          </p:grpSpPr>
          <p:cxnSp>
            <p:nvCxnSpPr>
              <p:cNvPr id="61" name="Gerader Verbinder 60">
                <a:extLst>
                  <a:ext uri="{FF2B5EF4-FFF2-40B4-BE49-F238E27FC236}">
                    <a16:creationId xmlns:a16="http://schemas.microsoft.com/office/drawing/2014/main" id="{AA3939AB-5DF8-43A2-A839-CAD14FD68206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2" name="Gerader Verbinder 61">
                <a:extLst>
                  <a:ext uri="{FF2B5EF4-FFF2-40B4-BE49-F238E27FC236}">
                    <a16:creationId xmlns:a16="http://schemas.microsoft.com/office/drawing/2014/main" id="{FAD9DEF6-4500-4CB3-9D0A-5801196D1F53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68477A96-381F-436F-8236-B32787206E29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64" name="Gerader Verbinder 63">
                <a:extLst>
                  <a:ext uri="{FF2B5EF4-FFF2-40B4-BE49-F238E27FC236}">
                    <a16:creationId xmlns:a16="http://schemas.microsoft.com/office/drawing/2014/main" id="{BD15A0EB-47F6-4FC0-94CD-92C20B54803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5" name="Gerader Verbinder 64">
                <a:extLst>
                  <a:ext uri="{FF2B5EF4-FFF2-40B4-BE49-F238E27FC236}">
                    <a16:creationId xmlns:a16="http://schemas.microsoft.com/office/drawing/2014/main" id="{F0DB5224-F9B6-4FD8-B57E-4BB04B9CE72B}"/>
                  </a:ext>
                </a:extLst>
              </p:cNvPr>
              <p:cNvCxnSpPr>
                <a:cxnSpLocks/>
                <a:stCxn id="63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FB2208E9-D027-41C6-924B-C4315A3E6845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E1B1D209-2079-4FE0-88BE-675EEC3C90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E4D0181E-47C4-4847-BF16-485A0C07B8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2DE856E3-F08A-4720-8B24-4073E7C02992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765D3B99-4B15-409A-A8F2-4233051CC286}"/>
                </a:ext>
              </a:extLst>
            </p:cNvPr>
            <p:cNvGrpSpPr/>
            <p:nvPr/>
          </p:nvGrpSpPr>
          <p:grpSpPr>
            <a:xfrm>
              <a:off x="6953137" y="3586461"/>
              <a:ext cx="416421" cy="416420"/>
              <a:chOff x="5142477" y="1990430"/>
              <a:chExt cx="3600400" cy="3600400"/>
            </a:xfrm>
          </p:grpSpPr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F4A617B7-B152-4FE2-98BE-709FA7479F7E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68AA5E7E-460D-451D-9185-46EFFC17CDB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E95A5741-AA17-4C8E-97CB-17999A45CC43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B0B5BBC4-2EA8-406D-8EDD-CDC178CD729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C7E4527D-2686-432B-905D-44EE0D3A4543}"/>
                  </a:ext>
                </a:extLst>
              </p:cNvPr>
              <p:cNvCxnSpPr>
                <a:cxnSpLocks/>
                <a:stCxn id="54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7" name="Ellipse 56">
                <a:extLst>
                  <a:ext uri="{FF2B5EF4-FFF2-40B4-BE49-F238E27FC236}">
                    <a16:creationId xmlns:a16="http://schemas.microsoft.com/office/drawing/2014/main" id="{6360C1DC-458F-4CC3-ABEC-80136ACC1C0A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1FC7C393-51FA-420B-B710-4484A5073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C4360370-B944-429F-9D53-5E2203AA89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EFFA6C49-B218-46A3-9F50-F02CACDF187B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7D1A9F5A-C723-4277-9F9B-64DC5C96CC3C}"/>
                </a:ext>
              </a:extLst>
            </p:cNvPr>
            <p:cNvGrpSpPr/>
            <p:nvPr/>
          </p:nvGrpSpPr>
          <p:grpSpPr>
            <a:xfrm>
              <a:off x="7432397" y="3581963"/>
              <a:ext cx="416421" cy="416420"/>
              <a:chOff x="5142477" y="1990430"/>
              <a:chExt cx="3600400" cy="3600400"/>
            </a:xfrm>
          </p:grpSpPr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D79E85EE-4BD6-4433-9075-5A26635AF76E}"/>
                  </a:ext>
                </a:extLst>
              </p:cNvPr>
              <p:cNvCxnSpPr/>
              <p:nvPr/>
            </p:nvCxnSpPr>
            <p:spPr>
              <a:xfrm>
                <a:off x="5286493" y="1990430"/>
                <a:ext cx="0" cy="3600400"/>
              </a:xfrm>
              <a:prstGeom prst="line">
                <a:avLst/>
              </a:prstGeom>
              <a:ln w="38100">
                <a:headEnd type="triangl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D3A8ECA1-3F92-42AB-A1A8-FDF034C9636E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6942677" y="3700379"/>
                <a:ext cx="0" cy="3600400"/>
              </a:xfrm>
              <a:prstGeom prst="line">
                <a:avLst/>
              </a:prstGeom>
              <a:ln w="38100">
                <a:headEnd type="none" w="med" len="med"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C4D925C-1FB3-415E-9E2C-54A87502A25D}"/>
                  </a:ext>
                </a:extLst>
              </p:cNvPr>
              <p:cNvSpPr/>
              <p:nvPr/>
            </p:nvSpPr>
            <p:spPr>
              <a:xfrm>
                <a:off x="7918956" y="2400391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2CBC7572-4B85-4581-9B33-FE35B1E817D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297038" y="2436390"/>
                <a:ext cx="1820141" cy="221951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D57B43E2-6CCD-4EDC-8CD1-833CA5208C43}"/>
                  </a:ext>
                </a:extLst>
              </p:cNvPr>
              <p:cNvCxnSpPr>
                <a:cxnSpLocks/>
                <a:stCxn id="45" idx="2"/>
              </p:cNvCxnSpPr>
              <p:nvPr/>
            </p:nvCxnSpPr>
            <p:spPr>
              <a:xfrm flipH="1">
                <a:off x="7107223" y="2436391"/>
                <a:ext cx="811733" cy="0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9CD93BE4-EB53-4D51-B72B-DEAD3187F22A}"/>
                  </a:ext>
                </a:extLst>
              </p:cNvPr>
              <p:cNvSpPr/>
              <p:nvPr/>
            </p:nvSpPr>
            <p:spPr>
              <a:xfrm>
                <a:off x="8492939" y="2077485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4CFB7F63-032F-4818-8FB9-F243E3F47C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109026"/>
                <a:ext cx="537983" cy="1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410174DC-F1A0-4DCC-898D-D416E2AE28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54956" y="2096533"/>
                <a:ext cx="0" cy="303858"/>
              </a:xfrm>
              <a:prstGeom prst="line">
                <a:avLst/>
              </a:prstGeom>
              <a:ln w="28575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51" name="Ellipse 50">
                <a:extLst>
                  <a:ext uri="{FF2B5EF4-FFF2-40B4-BE49-F238E27FC236}">
                    <a16:creationId xmlns:a16="http://schemas.microsoft.com/office/drawing/2014/main" id="{C657031A-69C7-440A-9B2C-E842F34B8781}"/>
                  </a:ext>
                </a:extLst>
              </p:cNvPr>
              <p:cNvSpPr/>
              <p:nvPr/>
            </p:nvSpPr>
            <p:spPr>
              <a:xfrm>
                <a:off x="5258223" y="4625056"/>
                <a:ext cx="72000" cy="72000"/>
              </a:xfrm>
              <a:prstGeom prst="ellipse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146D630D-E03D-4D2C-95AA-D784067C699A}"/>
                </a:ext>
              </a:extLst>
            </p:cNvPr>
            <p:cNvSpPr/>
            <p:nvPr/>
          </p:nvSpPr>
          <p:spPr>
            <a:xfrm>
              <a:off x="6288787" y="3466634"/>
              <a:ext cx="1931726" cy="654706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de-DE" dirty="0">
                  <a:solidFill>
                    <a:schemeClr val="tx1"/>
                  </a:solidFill>
                </a:rPr>
                <a:t>	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22221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319FF829-0D1C-4411-BCE2-75F61023BD81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2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Erneuerbaren Energien werden analog zu der konventionellen Erzeugung optimiert und vermarktet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RES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 err="1"/>
                <a:t>DayAhead</a:t>
              </a:r>
              <a:r>
                <a:rPr lang="de-DE" sz="1400" b="1" dirty="0"/>
                <a:t> Markt</a:t>
              </a:r>
            </a:p>
          </p:txBody>
        </p:sp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Ökon. Kenngrößen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32328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. &amp; ökon.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31837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uschläg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e Stunde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5446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erbuch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851441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pic>
        <p:nvPicPr>
          <p:cNvPr id="3" name="Grafik 2" descr="Windkraftanlagen">
            <a:extLst>
              <a:ext uri="{FF2B5EF4-FFF2-40B4-BE49-F238E27FC236}">
                <a16:creationId xmlns:a16="http://schemas.microsoft.com/office/drawing/2014/main" id="{56324FC3-CB56-435B-9A44-D17D826448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22639" y="2876592"/>
            <a:ext cx="649022" cy="649022"/>
          </a:xfrm>
          <a:prstGeom prst="rect">
            <a:avLst/>
          </a:prstGeom>
        </p:spPr>
      </p:pic>
      <p:grpSp>
        <p:nvGrpSpPr>
          <p:cNvPr id="34" name="Grafik 34" descr="Solarmodule">
            <a:extLst>
              <a:ext uri="{FF2B5EF4-FFF2-40B4-BE49-F238E27FC236}">
                <a16:creationId xmlns:a16="http://schemas.microsoft.com/office/drawing/2014/main" id="{A4BBD2B9-123E-4A85-A90A-9F301B4C65C6}"/>
              </a:ext>
            </a:extLst>
          </p:cNvPr>
          <p:cNvGrpSpPr/>
          <p:nvPr/>
        </p:nvGrpSpPr>
        <p:grpSpPr>
          <a:xfrm>
            <a:off x="1697918" y="3918123"/>
            <a:ext cx="643799" cy="643799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B9FD41F1-305A-4046-81B2-E716581333D8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895EF659-D70B-4AE6-9DED-D88731487D94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CCBF749-3D70-4BFF-A029-8B2D71A2D23F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1ECBBACC-24FB-4FC0-BDE7-6AB33D1E8B3C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87D1E2A-09D9-4998-B58C-39C742D3A05C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FA8530E3-D91E-482F-B158-208482544815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978378CC-A237-49DD-A2F9-2E6C29724B2F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91011B4-535F-4174-BF20-AA5C804670B8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24A604-6D87-407E-934A-AAFF4A346F53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3ABD0DC5-7C60-4304-9DB7-85B67B3CE731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8A8E9B1F-3D4F-461E-87B2-DB7F9281F34D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6B96981-FFE5-4793-BA9B-3E3915834DFB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25B1E17B-AFE7-4D9C-A433-3A8F03530CC7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FE6D0EB9-5D0F-4BEF-848E-ADA0C207290D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3453605-70D4-4FD4-A300-DDDEFA94D64F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91C3EA6-F931-451D-AA79-D0CFD414F2C9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2E9A213-D96D-4BB6-9AFC-00E56AF1F00F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04C6B233-1B34-4C49-A851-2124CF5C5C3E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DB8FD3F4-5FAD-42DF-ACC1-225D716A235A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8" name="Grafik 7" descr="Windkraftanlagen">
            <a:extLst>
              <a:ext uri="{FF2B5EF4-FFF2-40B4-BE49-F238E27FC236}">
                <a16:creationId xmlns:a16="http://schemas.microsoft.com/office/drawing/2014/main" id="{5FED0491-A288-4BEA-8C9A-4E5C6ED89F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02980" y="4458119"/>
            <a:ext cx="649022" cy="649022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4201EBA-10A1-43F3-8E3F-90D960B9F44D}"/>
              </a:ext>
            </a:extLst>
          </p:cNvPr>
          <p:cNvSpPr/>
          <p:nvPr/>
        </p:nvSpPr>
        <p:spPr>
          <a:xfrm>
            <a:off x="1747749" y="4915794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0" name="Grafik 34" descr="Solarmodule">
            <a:extLst>
              <a:ext uri="{FF2B5EF4-FFF2-40B4-BE49-F238E27FC236}">
                <a16:creationId xmlns:a16="http://schemas.microsoft.com/office/drawing/2014/main" id="{912E5A59-4C45-4097-B862-43670DADD50B}"/>
              </a:ext>
            </a:extLst>
          </p:cNvPr>
          <p:cNvGrpSpPr/>
          <p:nvPr/>
        </p:nvGrpSpPr>
        <p:grpSpPr>
          <a:xfrm>
            <a:off x="2157096" y="4853537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8326FB13-9962-4DFF-B365-1408502F4783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EC6E9B7C-CE28-47C9-AFA2-83261E36879D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4CB1F17C-E747-4F36-80F5-8CA1FEB60BD5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660A4B94-7AEF-46B0-A993-C1B24CC0C0B1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7B0C58F2-2FD8-4E7C-A1C3-E7DDBBC160B6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011C14B-3476-4E66-B8E9-8C9E9189ADA0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4CDDC6F-2E1E-4782-8D22-4FB33ED62C21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EB04BC9-DD5C-40B1-B18E-0DA67A82218E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89A01095-3A49-4BCB-868A-8CDE571F98D3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BB11BC01-0629-4851-BE35-B30E3F447A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7B011D5E-8713-49EC-9B8C-709E7E09BE4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E54167DD-D8F6-48F7-BF60-CD7CB2CA2803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FFCD7CA4-FD82-40BD-8F8D-117E5CE237EE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3598EB04-2DD0-4B2C-81B8-14811DCD08AF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C7BB7BF-B5B5-46CF-84C6-3DE1A1515DF2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E6559961-126F-400E-851B-EA37D7A28CCC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5929441-958C-49E8-9C9A-D1F1A122594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E60F2666-ED64-4C44-96F9-629EAD169635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EF42142C-90D1-4718-B795-A2C8591229D9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3" name="Grafik 12" descr="Windkraftanlagen">
            <a:extLst>
              <a:ext uri="{FF2B5EF4-FFF2-40B4-BE49-F238E27FC236}">
                <a16:creationId xmlns:a16="http://schemas.microsoft.com/office/drawing/2014/main" id="{01CDAF30-DA12-4BEA-919F-FED3ABA4AC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58865" y="2935160"/>
            <a:ext cx="649022" cy="649022"/>
          </a:xfrm>
          <a:prstGeom prst="rect">
            <a:avLst/>
          </a:prstGeom>
        </p:spPr>
      </p:pic>
      <p:pic>
        <p:nvPicPr>
          <p:cNvPr id="14" name="Picture 2" descr="Biogasvertrieb Nord GmbH &amp; Co.KG - Home">
            <a:extLst>
              <a:ext uri="{FF2B5EF4-FFF2-40B4-BE49-F238E27FC236}">
                <a16:creationId xmlns:a16="http://schemas.microsoft.com/office/drawing/2014/main" id="{49C1306D-75B9-4E7B-B7D9-C72419040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866" y="2251733"/>
            <a:ext cx="836254" cy="836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 descr="Wassermann">
            <a:extLst>
              <a:ext uri="{FF2B5EF4-FFF2-40B4-BE49-F238E27FC236}">
                <a16:creationId xmlns:a16="http://schemas.microsoft.com/office/drawing/2014/main" id="{50A55845-C33E-4388-97D8-AECC105F0C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27545" y="3649508"/>
            <a:ext cx="759466" cy="759466"/>
          </a:xfrm>
          <a:prstGeom prst="rect">
            <a:avLst/>
          </a:prstGeom>
        </p:spPr>
      </p:pic>
      <p:sp>
        <p:nvSpPr>
          <p:cNvPr id="9" name="Pfeil: 180-Grad 8">
            <a:extLst>
              <a:ext uri="{FF2B5EF4-FFF2-40B4-BE49-F238E27FC236}">
                <a16:creationId xmlns:a16="http://schemas.microsoft.com/office/drawing/2014/main" id="{F2367502-97A6-46D5-985C-C7CBA4E8E654}"/>
              </a:ext>
            </a:extLst>
          </p:cNvPr>
          <p:cNvSpPr/>
          <p:nvPr/>
        </p:nvSpPr>
        <p:spPr>
          <a:xfrm rot="16200000">
            <a:off x="3899178" y="3438713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6" name="Pfeil: 180-Grad 15">
            <a:extLst>
              <a:ext uri="{FF2B5EF4-FFF2-40B4-BE49-F238E27FC236}">
                <a16:creationId xmlns:a16="http://schemas.microsoft.com/office/drawing/2014/main" id="{54C63905-5624-4FF6-8EB6-7AE49D9A4535}"/>
              </a:ext>
            </a:extLst>
          </p:cNvPr>
          <p:cNvSpPr/>
          <p:nvPr/>
        </p:nvSpPr>
        <p:spPr>
          <a:xfrm rot="5400000">
            <a:off x="7427570" y="3500156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18" name="Grafik 17" descr="Angebot und Nachfrage">
            <a:extLst>
              <a:ext uri="{FF2B5EF4-FFF2-40B4-BE49-F238E27FC236}">
                <a16:creationId xmlns:a16="http://schemas.microsoft.com/office/drawing/2014/main" id="{C20510F0-EE26-4EFA-A29E-22BE380C44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30524" y="3234811"/>
            <a:ext cx="1289743" cy="1289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4157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C638EFE1-A365-4E64-A4F6-D431AB2062EF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3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Für die Preisprognose werden die gleichen Eingangsgrößen bzw. </a:t>
            </a:r>
            <a:r>
              <a:rPr lang="de-DE" dirty="0" err="1"/>
              <a:t>Algrothmen</a:t>
            </a:r>
            <a:r>
              <a:rPr lang="de-DE" dirty="0"/>
              <a:t> gewählt.</a:t>
            </a:r>
            <a:br>
              <a:rPr lang="de-DE" dirty="0"/>
            </a:br>
            <a:r>
              <a:rPr lang="de-DE" dirty="0"/>
              <a:t>Allerdings hat das Wetter direkten Einfluss auf die Berechnung der Stromerzeugung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Eingangsgrößen</a:t>
            </a:r>
          </a:p>
          <a:p>
            <a:r>
              <a:rPr lang="de-DE" sz="1400" dirty="0"/>
              <a:t>Wetter zur Berechnung der Einspeisung:</a:t>
            </a:r>
          </a:p>
          <a:p>
            <a:pPr lvl="1"/>
            <a:r>
              <a:rPr lang="de-DE" sz="1200" b="1" dirty="0"/>
              <a:t>Windgeschwindigkeit</a:t>
            </a:r>
            <a:r>
              <a:rPr lang="de-DE" sz="1200" dirty="0"/>
              <a:t> [m/s]</a:t>
            </a:r>
            <a:br>
              <a:rPr lang="de-DE" sz="1200" dirty="0"/>
            </a:br>
            <a:r>
              <a:rPr lang="de-DE" sz="1200" dirty="0"/>
              <a:t>gemessen 10 Meter über Grund</a:t>
            </a:r>
          </a:p>
          <a:p>
            <a:pPr lvl="1"/>
            <a:r>
              <a:rPr lang="de-DE" sz="1200" b="1" dirty="0"/>
              <a:t>Temperatur</a:t>
            </a:r>
            <a:r>
              <a:rPr lang="de-DE" sz="1200" dirty="0"/>
              <a:t> [°C]</a:t>
            </a:r>
          </a:p>
          <a:p>
            <a:pPr lvl="1"/>
            <a:r>
              <a:rPr lang="de-DE" sz="1200" b="1" dirty="0"/>
              <a:t>Globalstrahlung</a:t>
            </a:r>
            <a:r>
              <a:rPr lang="de-DE" sz="1200" dirty="0"/>
              <a:t> [W/m²]</a:t>
            </a:r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Wetter zur Preisprognose:</a:t>
            </a:r>
          </a:p>
          <a:p>
            <a:pPr lvl="1"/>
            <a:r>
              <a:rPr lang="de-DE" sz="1200" dirty="0"/>
              <a:t>mittlere </a:t>
            </a:r>
            <a:r>
              <a:rPr lang="de-DE" sz="1200" b="1" dirty="0"/>
              <a:t>Windgeschwindigkeit</a:t>
            </a:r>
            <a:r>
              <a:rPr lang="de-DE" sz="1200" dirty="0"/>
              <a:t> [m/s]</a:t>
            </a:r>
          </a:p>
          <a:p>
            <a:pPr lvl="1"/>
            <a:r>
              <a:rPr lang="de-DE" sz="1200" dirty="0"/>
              <a:t>mittlere </a:t>
            </a:r>
            <a:r>
              <a:rPr lang="de-DE" sz="1200" b="1" dirty="0"/>
              <a:t>Temperatur</a:t>
            </a:r>
            <a:r>
              <a:rPr lang="de-DE" sz="1200" dirty="0"/>
              <a:t> [°C]</a:t>
            </a:r>
          </a:p>
          <a:p>
            <a:pPr lvl="1"/>
            <a:r>
              <a:rPr lang="de-DE" sz="1200" dirty="0"/>
              <a:t>mittlere </a:t>
            </a:r>
            <a:r>
              <a:rPr lang="de-DE" sz="1200" b="1" dirty="0"/>
              <a:t>Globalstrahlung</a:t>
            </a:r>
            <a:r>
              <a:rPr lang="de-DE" sz="1200" dirty="0"/>
              <a:t> [W/m²]</a:t>
            </a:r>
            <a:endParaRPr lang="de-DE" sz="1400" dirty="0"/>
          </a:p>
          <a:p>
            <a:pPr lvl="1"/>
            <a:endParaRPr lang="de-DE" sz="1200" dirty="0"/>
          </a:p>
          <a:p>
            <a:pPr marL="0" indent="0">
              <a:buNone/>
            </a:pPr>
            <a:r>
              <a:rPr lang="de-DE" sz="1400" dirty="0"/>
              <a:t>	</a:t>
            </a:r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2511DB5-3A01-425E-8E3F-1F6AE9BBE193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65E1D83F-CCE9-4BE8-B470-250B71BDA70E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18E2B1B4-AF61-4649-9024-FCE917B6A0F9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011350D6-7278-48FD-BCF8-CD5AF416BD86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EC7C5B78-D973-4C23-9FA9-A71A2C495D64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ndenergieanlagen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abenhöhe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Rotordurchmesser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Bodenbeschaffenheit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Leistungskennlinien</a:t>
                </a:r>
              </a:p>
            </p:txBody>
          </p:sp>
          <p:sp>
            <p:nvSpPr>
              <p:cNvPr id="25" name="Pfeil: nach oben 24">
                <a:extLst>
                  <a:ext uri="{FF2B5EF4-FFF2-40B4-BE49-F238E27FC236}">
                    <a16:creationId xmlns:a16="http://schemas.microsoft.com/office/drawing/2014/main" id="{74D61165-8F1F-4218-AFAE-E6281D7F47BB}"/>
                  </a:ext>
                </a:extLst>
              </p:cNvPr>
              <p:cNvSpPr/>
              <p:nvPr/>
            </p:nvSpPr>
            <p:spPr>
              <a:xfrm rot="16200000">
                <a:off x="6107636" y="3068140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6" name="Pfeil: nach oben 25">
                <a:extLst>
                  <a:ext uri="{FF2B5EF4-FFF2-40B4-BE49-F238E27FC236}">
                    <a16:creationId xmlns:a16="http://schemas.microsoft.com/office/drawing/2014/main" id="{091C1A7F-1738-49CA-859B-5CE00DE13BF6}"/>
                  </a:ext>
                </a:extLst>
              </p:cNvPr>
              <p:cNvSpPr/>
              <p:nvPr/>
            </p:nvSpPr>
            <p:spPr>
              <a:xfrm rot="5400000">
                <a:off x="6048783" y="4288131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3" name="Grafik 2" descr="Windkraftanlagen">
              <a:extLst>
                <a:ext uri="{FF2B5EF4-FFF2-40B4-BE49-F238E27FC236}">
                  <a16:creationId xmlns:a16="http://schemas.microsoft.com/office/drawing/2014/main" id="{33D8FA2F-A97A-48E0-88F9-C8A477D215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01818" y="2564144"/>
              <a:ext cx="468271" cy="468271"/>
            </a:xfrm>
            <a:prstGeom prst="rect">
              <a:avLst/>
            </a:prstGeom>
          </p:spPr>
        </p:pic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6B9F190E-9DBC-45E5-83B9-475F7DFDC764}"/>
              </a:ext>
            </a:extLst>
          </p:cNvPr>
          <p:cNvSpPr/>
          <p:nvPr/>
        </p:nvSpPr>
        <p:spPr>
          <a:xfrm>
            <a:off x="11059857" y="2369354"/>
            <a:ext cx="360040" cy="12984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PLZ-Gebie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43C95B-D25B-493F-B524-EA584FA68327}"/>
              </a:ext>
            </a:extLst>
          </p:cNvPr>
          <p:cNvSpPr/>
          <p:nvPr/>
        </p:nvSpPr>
        <p:spPr>
          <a:xfrm>
            <a:off x="11059857" y="4140625"/>
            <a:ext cx="360040" cy="12984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Deutschland</a:t>
            </a:r>
          </a:p>
        </p:txBody>
      </p:sp>
    </p:spTree>
    <p:extLst>
      <p:ext uri="{BB962C8B-B14F-4D97-AF65-F5344CB8AC3E}">
        <p14:creationId xmlns:p14="http://schemas.microsoft.com/office/powerpoint/2010/main" val="5747979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8A592FAD-CAB6-4ED6-B7BD-C5DE28448C39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4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ur Modellierung der Windenergieanlagen werden Rohdaten aus dem Marktstammdatenregister verwendet und in eine entsprechende windpowerlib-Instanz überführ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r>
              <a:rPr lang="de-DE" sz="1400" dirty="0"/>
              <a:t>Daten aus dem Marktstammdatenregister:</a:t>
            </a:r>
          </a:p>
          <a:p>
            <a:pPr lvl="1"/>
            <a:r>
              <a:rPr lang="de-DE" sz="1200" dirty="0"/>
              <a:t>Nennleistung, Nabenhöhe, Rotordurchmesser, Typ und Standort</a:t>
            </a:r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Das Package </a:t>
            </a:r>
            <a:r>
              <a:rPr lang="de-DE" sz="1400" i="1" dirty="0"/>
              <a:t>windpowerlib</a:t>
            </a:r>
            <a:r>
              <a:rPr lang="de-DE" sz="1400" dirty="0"/>
              <a:t> stellt für ca. 70 Anlagentypen </a:t>
            </a:r>
            <a:r>
              <a:rPr lang="de-DE" sz="1400" b="1" dirty="0"/>
              <a:t>Leistungskennlinien</a:t>
            </a:r>
            <a:r>
              <a:rPr lang="de-DE" sz="1400" dirty="0"/>
              <a:t> bereit.</a:t>
            </a:r>
          </a:p>
          <a:p>
            <a:endParaRPr lang="de-DE" sz="1400" dirty="0"/>
          </a:p>
          <a:p>
            <a:r>
              <a:rPr lang="de-DE" sz="1400" dirty="0"/>
              <a:t>Fehlende und unbekannte Typen werden durch eine Default Kennlinie entsprechend ihrer Nennleistung gewählt. </a:t>
            </a:r>
          </a:p>
          <a:p>
            <a:endParaRPr lang="de-DE" sz="1400" dirty="0"/>
          </a:p>
          <a:p>
            <a:r>
              <a:rPr lang="de-DE" sz="1400" dirty="0"/>
              <a:t>Für Deutschland wurde eine mittlere </a:t>
            </a:r>
            <a:r>
              <a:rPr lang="de-DE" sz="1400" b="1" dirty="0" err="1"/>
              <a:t>Rauigkeitslänge</a:t>
            </a:r>
            <a:r>
              <a:rPr lang="de-DE" sz="1400" dirty="0"/>
              <a:t> von 0.125 m (offene Wiese) gewählt.</a:t>
            </a:r>
          </a:p>
          <a:p>
            <a:endParaRPr lang="de-DE" sz="1400" dirty="0"/>
          </a:p>
        </p:txBody>
      </p:sp>
      <p:pic>
        <p:nvPicPr>
          <p:cNvPr id="3" name="Grafik 2" descr="Windkraftanlagen">
            <a:extLst>
              <a:ext uri="{FF2B5EF4-FFF2-40B4-BE49-F238E27FC236}">
                <a16:creationId xmlns:a16="http://schemas.microsoft.com/office/drawing/2014/main" id="{33D8FA2F-A97A-48E0-88F9-C8A477D215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01818" y="2564144"/>
            <a:ext cx="468271" cy="468271"/>
          </a:xfrm>
          <a:prstGeom prst="rect">
            <a:avLst/>
          </a:prstGeom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D44A9C51-F748-4544-9293-C59DD7BBEF52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089D88E8-95C0-42CA-8217-48333BE8124B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6DBBE453-EDAB-4BAB-8B1D-51DE4B0DC335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48E50BD7-C048-4E43-9C63-E407F9F18905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38BE0930-12EC-451C-BB06-949B40DB4C68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ndenergieanlagen</a:t>
                </a:r>
                <a:endParaRPr lang="de-DE" sz="1600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abenhöhe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Rotordurchmesser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Bodenbeschaffenheit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Leistungskennlinien</a:t>
                </a:r>
              </a:p>
            </p:txBody>
          </p:sp>
          <p:sp>
            <p:nvSpPr>
              <p:cNvPr id="28" name="Pfeil: nach oben 27">
                <a:extLst>
                  <a:ext uri="{FF2B5EF4-FFF2-40B4-BE49-F238E27FC236}">
                    <a16:creationId xmlns:a16="http://schemas.microsoft.com/office/drawing/2014/main" id="{85F9D052-3A1E-4231-99E9-64E4A4A36685}"/>
                  </a:ext>
                </a:extLst>
              </p:cNvPr>
              <p:cNvSpPr/>
              <p:nvPr/>
            </p:nvSpPr>
            <p:spPr>
              <a:xfrm rot="16200000">
                <a:off x="6107636" y="3068140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9" name="Pfeil: nach oben 28">
                <a:extLst>
                  <a:ext uri="{FF2B5EF4-FFF2-40B4-BE49-F238E27FC236}">
                    <a16:creationId xmlns:a16="http://schemas.microsoft.com/office/drawing/2014/main" id="{78FE022F-F4A4-456E-8799-8836B963608C}"/>
                  </a:ext>
                </a:extLst>
              </p:cNvPr>
              <p:cNvSpPr/>
              <p:nvPr/>
            </p:nvSpPr>
            <p:spPr>
              <a:xfrm rot="5400000">
                <a:off x="6048783" y="4288131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18" name="Grafik 17" descr="Windkraftanlagen">
              <a:extLst>
                <a:ext uri="{FF2B5EF4-FFF2-40B4-BE49-F238E27FC236}">
                  <a16:creationId xmlns:a16="http://schemas.microsoft.com/office/drawing/2014/main" id="{057E429F-D907-415F-88AA-E480C9C1F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01818" y="2564144"/>
              <a:ext cx="468271" cy="4682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59185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0B6C433B-0847-4338-82A0-A543576AD3DA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5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Anschließend wird die aggregierte Leistungskurve geglättet, um die Gleichzeitigkeit der Windgeschwindigkeit in einem Gebiet nicht zu überschätzen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r>
              <a:rPr lang="de-DE" sz="1400" dirty="0"/>
              <a:t>Zur Berechnung der Windeinspeisung in einem PLZ-Gebiet werden alle Kennlinien der WEA addiert. (Superposition) </a:t>
            </a:r>
          </a:p>
          <a:p>
            <a:endParaRPr lang="de-DE" sz="1400" dirty="0"/>
          </a:p>
          <a:p>
            <a:r>
              <a:rPr lang="de-DE" sz="1400" dirty="0"/>
              <a:t>Anschließend wird mit Hilfe einer Normal-verteilung die Gesamtkennlinie geglättet. </a:t>
            </a:r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400" dirty="0"/>
          </a:p>
          <a:p>
            <a:pPr marL="0" indent="0">
              <a:buNone/>
            </a:pPr>
            <a:r>
              <a:rPr lang="de-DE" sz="900" dirty="0"/>
              <a:t>Quelle: IWES</a:t>
            </a:r>
          </a:p>
          <a:p>
            <a:endParaRPr lang="de-DE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DF5C510-90C1-4E67-B12E-03B1551091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91"/>
          <a:stretch/>
        </p:blipFill>
        <p:spPr>
          <a:xfrm>
            <a:off x="7320136" y="4073628"/>
            <a:ext cx="3924713" cy="1548454"/>
          </a:xfrm>
          <a:prstGeom prst="rect">
            <a:avLst/>
          </a:prstGeom>
        </p:spPr>
      </p:pic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51746BE-1F28-424C-B7CF-7903F0D29662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40A949E-3C92-41E4-AC2C-12C417075856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3E015E2F-2C37-4BD5-A9CD-7AEF4D2E477B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9DA0FFB6-A4D8-4B43-90E0-04572D33986C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 err="1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BB962075-0FC6-42B3-8117-5123C6800B2B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ndenergieanlagen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abenhöhe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Rotordurchmesser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Bodenbeschaffenheit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Leistungskennlinien</a:t>
                </a:r>
              </a:p>
            </p:txBody>
          </p:sp>
          <p:sp>
            <p:nvSpPr>
              <p:cNvPr id="37" name="Pfeil: nach oben 36">
                <a:extLst>
                  <a:ext uri="{FF2B5EF4-FFF2-40B4-BE49-F238E27FC236}">
                    <a16:creationId xmlns:a16="http://schemas.microsoft.com/office/drawing/2014/main" id="{3614FBAA-9AEA-4B34-9668-D2620F4AC144}"/>
                  </a:ext>
                </a:extLst>
              </p:cNvPr>
              <p:cNvSpPr/>
              <p:nvPr/>
            </p:nvSpPr>
            <p:spPr>
              <a:xfrm rot="16200000">
                <a:off x="6107636" y="3068140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8" name="Pfeil: nach oben 37">
                <a:extLst>
                  <a:ext uri="{FF2B5EF4-FFF2-40B4-BE49-F238E27FC236}">
                    <a16:creationId xmlns:a16="http://schemas.microsoft.com/office/drawing/2014/main" id="{757D633F-E7C2-40AB-8EF0-CD00D358B2C5}"/>
                  </a:ext>
                </a:extLst>
              </p:cNvPr>
              <p:cNvSpPr/>
              <p:nvPr/>
            </p:nvSpPr>
            <p:spPr>
              <a:xfrm rot="5400000">
                <a:off x="6048783" y="4288131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33" name="Grafik 32" descr="Windkraftanlagen">
              <a:extLst>
                <a:ext uri="{FF2B5EF4-FFF2-40B4-BE49-F238E27FC236}">
                  <a16:creationId xmlns:a16="http://schemas.microsoft.com/office/drawing/2014/main" id="{6573776D-3478-4454-8EFA-034C38CE5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01818" y="2564144"/>
              <a:ext cx="468271" cy="4682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68378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3FAE11D8-1BCF-4DE8-B8F2-0BC701962116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6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einzuspeisende Energiemenge der WEA wird dem Agenten zur Direktvermarktung übergeben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r>
              <a:rPr lang="de-DE" sz="1400" dirty="0"/>
              <a:t>Die resultierende Energiemenge wird der </a:t>
            </a:r>
            <a:r>
              <a:rPr lang="de-DE" sz="1400" b="1" dirty="0"/>
              <a:t>Direktvermarktung</a:t>
            </a:r>
            <a:r>
              <a:rPr lang="de-DE" sz="1400" dirty="0"/>
              <a:t> des Agent zugeordnet und preissensitiv vermarktet.</a:t>
            </a:r>
          </a:p>
          <a:p>
            <a:r>
              <a:rPr lang="de-DE" sz="1400" dirty="0"/>
              <a:t>D.h. Es gibt keine WEA mit einer festen Einspeisevergütung, die vorrangig behandelt wird. </a:t>
            </a:r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400" dirty="0"/>
          </a:p>
          <a:p>
            <a:endParaRPr lang="de-DE" sz="14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DB24771-C1FE-44FC-886E-A93DA9DA1B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8" t="2064" r="483" b="3833"/>
          <a:stretch/>
        </p:blipFill>
        <p:spPr>
          <a:xfrm>
            <a:off x="6957379" y="2360666"/>
            <a:ext cx="4248472" cy="1407815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9EF8F25-5373-45B6-ABAF-5416A90D9B2E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7C0D853-9B96-46AE-927F-707505C663BA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D4E36666-B0C7-454A-8181-4752C29A56D4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4EAF241C-ADDB-40B1-AB13-9F7E2130F506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 err="1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44B51678-96DE-4A19-8FCB-288041E3EC73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ndenergieanlagen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abenhöhe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Rotordurchmesser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Bodenbeschaffenheit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Leistungskennlinien</a:t>
                </a:r>
              </a:p>
            </p:txBody>
          </p:sp>
          <p:sp>
            <p:nvSpPr>
              <p:cNvPr id="29" name="Pfeil: nach oben 28">
                <a:extLst>
                  <a:ext uri="{FF2B5EF4-FFF2-40B4-BE49-F238E27FC236}">
                    <a16:creationId xmlns:a16="http://schemas.microsoft.com/office/drawing/2014/main" id="{B18C6695-B75F-4F05-BA8D-9EC4235E6FA3}"/>
                  </a:ext>
                </a:extLst>
              </p:cNvPr>
              <p:cNvSpPr/>
              <p:nvPr/>
            </p:nvSpPr>
            <p:spPr>
              <a:xfrm rot="16200000">
                <a:off x="6107636" y="3068140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0" name="Pfeil: nach oben 29">
                <a:extLst>
                  <a:ext uri="{FF2B5EF4-FFF2-40B4-BE49-F238E27FC236}">
                    <a16:creationId xmlns:a16="http://schemas.microsoft.com/office/drawing/2014/main" id="{6146AB3C-0B32-4627-AB9A-D6B93EBEE8C1}"/>
                  </a:ext>
                </a:extLst>
              </p:cNvPr>
              <p:cNvSpPr/>
              <p:nvPr/>
            </p:nvSpPr>
            <p:spPr>
              <a:xfrm rot="5400000">
                <a:off x="6048783" y="4288131"/>
                <a:ext cx="36000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21" name="Grafik 20" descr="Windkraftanlagen">
              <a:extLst>
                <a:ext uri="{FF2B5EF4-FFF2-40B4-BE49-F238E27FC236}">
                  <a16:creationId xmlns:a16="http://schemas.microsoft.com/office/drawing/2014/main" id="{72E77A7A-D8C1-42C6-82CF-B8C90C7927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01818" y="2564144"/>
              <a:ext cx="468271" cy="4682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50953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E302095-7733-4BFA-90A5-B9D49B35874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6BD0B5-5D0D-478E-B987-1D5AA32A077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5BD8311-D149-4659-BDCB-60B348A3A6F5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F330C5-025A-4CB3-83EB-166D7926F9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A3870B-E6CD-4C55-A402-69B7F974D24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7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2535937-4A96-4004-BD0F-AF046C030D2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Einteilung der PV-Anlagen in die entsprechenden Klassen erfolgt anhand der Nennleistung und des Stichtages der Installation.</a:t>
            </a:r>
          </a:p>
        </p:txBody>
      </p: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483518B4-C75C-4820-9E3F-75BD7CA47623}"/>
              </a:ext>
            </a:extLst>
          </p:cNvPr>
          <p:cNvGrpSpPr/>
          <p:nvPr/>
        </p:nvGrpSpPr>
        <p:grpSpPr>
          <a:xfrm>
            <a:off x="563808" y="1988840"/>
            <a:ext cx="10752576" cy="3681291"/>
            <a:chOff x="528000" y="1900663"/>
            <a:chExt cx="10752576" cy="3681291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82E3F98C-0627-4294-A486-B08D6757642F}"/>
                </a:ext>
              </a:extLst>
            </p:cNvPr>
            <p:cNvGrpSpPr/>
            <p:nvPr/>
          </p:nvGrpSpPr>
          <p:grpSpPr>
            <a:xfrm>
              <a:off x="528000" y="1900663"/>
              <a:ext cx="10752576" cy="3681291"/>
              <a:chOff x="412750" y="1757984"/>
              <a:chExt cx="10752576" cy="3681291"/>
            </a:xfrm>
          </p:grpSpPr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54ABDE8D-FCF6-44A4-96A6-915434CA1231}"/>
                  </a:ext>
                </a:extLst>
              </p:cNvPr>
              <p:cNvSpPr txBox="1"/>
              <p:nvPr/>
            </p:nvSpPr>
            <p:spPr>
              <a:xfrm>
                <a:off x="412750" y="1757984"/>
                <a:ext cx="4812093" cy="80021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2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Marktstammdatenregister</a:t>
                </a:r>
              </a:p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endPara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endPara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" name="Flussdiagramm: Verzweigung 7">
                <a:extLst>
                  <a:ext uri="{FF2B5EF4-FFF2-40B4-BE49-F238E27FC236}">
                    <a16:creationId xmlns:a16="http://schemas.microsoft.com/office/drawing/2014/main" id="{52C6919E-6FDF-40C2-A937-A5DE3BD40B81}"/>
                  </a:ext>
                </a:extLst>
              </p:cNvPr>
              <p:cNvSpPr/>
              <p:nvPr/>
            </p:nvSpPr>
            <p:spPr>
              <a:xfrm>
                <a:off x="3658862" y="2890849"/>
                <a:ext cx="1008112" cy="1008000"/>
              </a:xfrm>
              <a:prstGeom prst="flowChartDecision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&gt; 30 kWp</a:t>
                </a:r>
              </a:p>
            </p:txBody>
          </p:sp>
          <p:sp>
            <p:nvSpPr>
              <p:cNvPr id="9" name="Flussdiagramm: Verzweigung 8">
                <a:extLst>
                  <a:ext uri="{FF2B5EF4-FFF2-40B4-BE49-F238E27FC236}">
                    <a16:creationId xmlns:a16="http://schemas.microsoft.com/office/drawing/2014/main" id="{7E74A5B6-B1B0-444E-872D-605DF2B41263}"/>
                  </a:ext>
                </a:extLst>
              </p:cNvPr>
              <p:cNvSpPr/>
              <p:nvPr/>
            </p:nvSpPr>
            <p:spPr>
              <a:xfrm>
                <a:off x="5563557" y="2890849"/>
                <a:ext cx="1008112" cy="1008000"/>
              </a:xfrm>
              <a:prstGeom prst="flowChartDecision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&gt; 10 kWp</a:t>
                </a:r>
              </a:p>
            </p:txBody>
          </p:sp>
          <p:sp>
            <p:nvSpPr>
              <p:cNvPr id="10" name="Flussdiagramm: Verzweigung 9">
                <a:extLst>
                  <a:ext uri="{FF2B5EF4-FFF2-40B4-BE49-F238E27FC236}">
                    <a16:creationId xmlns:a16="http://schemas.microsoft.com/office/drawing/2014/main" id="{C8DB4927-3F02-43AC-9AB9-A2784F454A60}"/>
                  </a:ext>
                </a:extLst>
              </p:cNvPr>
              <p:cNvSpPr/>
              <p:nvPr/>
            </p:nvSpPr>
            <p:spPr>
              <a:xfrm>
                <a:off x="7468252" y="2888907"/>
                <a:ext cx="1008112" cy="1008000"/>
              </a:xfrm>
              <a:prstGeom prst="flowChartDecision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&gt; 2013</a:t>
                </a:r>
              </a:p>
            </p:txBody>
          </p:sp>
          <p:sp>
            <p:nvSpPr>
              <p:cNvPr id="11" name="Flussdiagramm: Verzweigung 10">
                <a:extLst>
                  <a:ext uri="{FF2B5EF4-FFF2-40B4-BE49-F238E27FC236}">
                    <a16:creationId xmlns:a16="http://schemas.microsoft.com/office/drawing/2014/main" id="{B4233E43-F260-4763-B438-EA2D6AC3064A}"/>
                  </a:ext>
                </a:extLst>
              </p:cNvPr>
              <p:cNvSpPr/>
              <p:nvPr/>
            </p:nvSpPr>
            <p:spPr>
              <a:xfrm>
                <a:off x="3648304" y="4241571"/>
                <a:ext cx="1008112" cy="1008000"/>
              </a:xfrm>
              <a:prstGeom prst="flowChartDecision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&gt; 2012</a:t>
                </a:r>
              </a:p>
            </p:txBody>
          </p:sp>
          <p:cxnSp>
            <p:nvCxnSpPr>
              <p:cNvPr id="12" name="Gerade Verbindung mit Pfeil 11">
                <a:extLst>
                  <a:ext uri="{FF2B5EF4-FFF2-40B4-BE49-F238E27FC236}">
                    <a16:creationId xmlns:a16="http://schemas.microsoft.com/office/drawing/2014/main" id="{87DC3DC3-773A-4B55-B962-E14851A98E59}"/>
                  </a:ext>
                </a:extLst>
              </p:cNvPr>
              <p:cNvCxnSpPr>
                <a:cxnSpLocks/>
                <a:stCxn id="8" idx="3"/>
                <a:endCxn id="9" idx="1"/>
              </p:cNvCxnSpPr>
              <p:nvPr/>
            </p:nvCxnSpPr>
            <p:spPr>
              <a:xfrm>
                <a:off x="4666974" y="3394849"/>
                <a:ext cx="896583" cy="0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DDA4E60-124A-4E33-AF14-BA11C349E499}"/>
                  </a:ext>
                </a:extLst>
              </p:cNvPr>
              <p:cNvSpPr/>
              <p:nvPr/>
            </p:nvSpPr>
            <p:spPr>
              <a:xfrm>
                <a:off x="601469" y="3934393"/>
                <a:ext cx="1681201" cy="41543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/>
                  <a:t>Direktvermarktung</a:t>
                </a:r>
              </a:p>
            </p:txBody>
          </p:sp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E02FB57B-8194-41A2-8F64-3FF299974360}"/>
                  </a:ext>
                </a:extLst>
              </p:cNvPr>
              <p:cNvCxnSpPr>
                <a:cxnSpLocks/>
                <a:stCxn id="8" idx="1"/>
                <a:endCxn id="50" idx="3"/>
              </p:cNvCxnSpPr>
              <p:nvPr/>
            </p:nvCxnSpPr>
            <p:spPr>
              <a:xfrm flipH="1">
                <a:off x="2282671" y="3394849"/>
                <a:ext cx="1376191" cy="0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mit Pfeil 14">
                <a:extLst>
                  <a:ext uri="{FF2B5EF4-FFF2-40B4-BE49-F238E27FC236}">
                    <a16:creationId xmlns:a16="http://schemas.microsoft.com/office/drawing/2014/main" id="{D9137DCE-9D88-441F-A74D-188AA2E9BD39}"/>
                  </a:ext>
                </a:extLst>
              </p:cNvPr>
              <p:cNvCxnSpPr>
                <a:cxnSpLocks/>
                <a:stCxn id="10" idx="3"/>
                <a:endCxn id="102" idx="1"/>
              </p:cNvCxnSpPr>
              <p:nvPr/>
            </p:nvCxnSpPr>
            <p:spPr>
              <a:xfrm>
                <a:off x="8476364" y="3392907"/>
                <a:ext cx="1007760" cy="0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E3C92AA2-3BDD-4240-BAD6-DD53AECD15F9}"/>
                  </a:ext>
                </a:extLst>
              </p:cNvPr>
              <p:cNvCxnSpPr>
                <a:cxnSpLocks/>
                <a:stCxn id="9" idx="3"/>
                <a:endCxn id="10" idx="1"/>
              </p:cNvCxnSpPr>
              <p:nvPr/>
            </p:nvCxnSpPr>
            <p:spPr>
              <a:xfrm flipV="1">
                <a:off x="6571669" y="3392907"/>
                <a:ext cx="896583" cy="1942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7" name="Verbinder: gewinkelt 16">
                <a:extLst>
                  <a:ext uri="{FF2B5EF4-FFF2-40B4-BE49-F238E27FC236}">
                    <a16:creationId xmlns:a16="http://schemas.microsoft.com/office/drawing/2014/main" id="{DA4C97CA-EEB3-4B4C-B86A-80062D0A550C}"/>
                  </a:ext>
                </a:extLst>
              </p:cNvPr>
              <p:cNvCxnSpPr>
                <a:cxnSpLocks/>
                <a:stCxn id="11" idx="2"/>
                <a:endCxn id="50" idx="3"/>
              </p:cNvCxnSpPr>
              <p:nvPr/>
            </p:nvCxnSpPr>
            <p:spPr>
              <a:xfrm rot="5400000" flipH="1">
                <a:off x="2292546" y="3389757"/>
                <a:ext cx="1849940" cy="1869689"/>
              </a:xfrm>
              <a:prstGeom prst="bentConnector4">
                <a:avLst>
                  <a:gd name="adj1" fmla="val -12357"/>
                  <a:gd name="adj2" fmla="val 81086"/>
                </a:avLst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8" name="Verbinder: gewinkelt 17">
                <a:extLst>
                  <a:ext uri="{FF2B5EF4-FFF2-40B4-BE49-F238E27FC236}">
                    <a16:creationId xmlns:a16="http://schemas.microsoft.com/office/drawing/2014/main" id="{CD4D4EFD-D5DC-48DD-95CA-380C8C6B6CFD}"/>
                  </a:ext>
                </a:extLst>
              </p:cNvPr>
              <p:cNvCxnSpPr>
                <a:cxnSpLocks/>
                <a:stCxn id="11" idx="1"/>
                <a:endCxn id="50" idx="3"/>
              </p:cNvCxnSpPr>
              <p:nvPr/>
            </p:nvCxnSpPr>
            <p:spPr>
              <a:xfrm rot="10800000">
                <a:off x="2282672" y="3399631"/>
                <a:ext cx="1365633" cy="1345940"/>
              </a:xfrm>
              <a:prstGeom prst="bentConnector3">
                <a:avLst>
                  <a:gd name="adj1" fmla="val 45313"/>
                </a:avLst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96A63965-682A-4358-A124-E503E173B431}"/>
                  </a:ext>
                </a:extLst>
              </p:cNvPr>
              <p:cNvSpPr txBox="1"/>
              <p:nvPr/>
            </p:nvSpPr>
            <p:spPr>
              <a:xfrm>
                <a:off x="3180850" y="3148628"/>
                <a:ext cx="432048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</a:t>
                </a:r>
              </a:p>
            </p:txBody>
          </p: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5D15DEC5-9BC2-4168-B9B4-18A6E24A74F9}"/>
                  </a:ext>
                </a:extLst>
              </p:cNvPr>
              <p:cNvSpPr txBox="1"/>
              <p:nvPr/>
            </p:nvSpPr>
            <p:spPr>
              <a:xfrm>
                <a:off x="3106821" y="4481597"/>
                <a:ext cx="578910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ein</a:t>
                </a:r>
              </a:p>
            </p:txBody>
          </p: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AEF2D361-F43B-4904-AC73-DC0A95252E16}"/>
                  </a:ext>
                </a:extLst>
              </p:cNvPr>
              <p:cNvSpPr txBox="1"/>
              <p:nvPr/>
            </p:nvSpPr>
            <p:spPr>
              <a:xfrm>
                <a:off x="4826005" y="3167376"/>
                <a:ext cx="578910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ein</a:t>
                </a:r>
              </a:p>
            </p:txBody>
          </p: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B9F6F86D-123E-4194-9E4A-895687B03D97}"/>
                  </a:ext>
                </a:extLst>
              </p:cNvPr>
              <p:cNvSpPr txBox="1"/>
              <p:nvPr/>
            </p:nvSpPr>
            <p:spPr>
              <a:xfrm>
                <a:off x="5587364" y="4199099"/>
                <a:ext cx="578910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339AB691-0BAD-4A16-9163-60479D6B1722}"/>
                  </a:ext>
                </a:extLst>
              </p:cNvPr>
              <p:cNvSpPr txBox="1"/>
              <p:nvPr/>
            </p:nvSpPr>
            <p:spPr>
              <a:xfrm>
                <a:off x="6730311" y="3146686"/>
                <a:ext cx="578910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ein</a:t>
                </a:r>
              </a:p>
            </p:txBody>
          </p:sp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083AA309-6F84-4F82-B8F1-902951232D07}"/>
                  </a:ext>
                </a:extLst>
              </p:cNvPr>
              <p:cNvSpPr/>
              <p:nvPr/>
            </p:nvSpPr>
            <p:spPr>
              <a:xfrm>
                <a:off x="9484125" y="3934393"/>
                <a:ext cx="1681201" cy="415435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/>
                  <a:t>EEG-vermarktung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69F9E9FE-9979-4E2A-AB5E-149E6F60483B}"/>
                  </a:ext>
                </a:extLst>
              </p:cNvPr>
              <p:cNvSpPr txBox="1"/>
              <p:nvPr/>
            </p:nvSpPr>
            <p:spPr>
              <a:xfrm>
                <a:off x="8688915" y="3163210"/>
                <a:ext cx="578910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ein</a:t>
                </a:r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CB5A2477-44B9-4210-A265-B929C9DF3151}"/>
                  </a:ext>
                </a:extLst>
              </p:cNvPr>
              <p:cNvSpPr/>
              <p:nvPr/>
            </p:nvSpPr>
            <p:spPr>
              <a:xfrm>
                <a:off x="7333167" y="4727818"/>
                <a:ext cx="1278281" cy="415435"/>
              </a:xfrm>
              <a:prstGeom prst="rect">
                <a:avLst/>
              </a:prstGeom>
              <a:ln w="1270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err="1"/>
                  <a:t>Prosumer</a:t>
                </a:r>
                <a:endParaRPr lang="de-DE" sz="1200" dirty="0"/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80593652-EE1F-4E11-92D4-90D97328F7D4}"/>
                  </a:ext>
                </a:extLst>
              </p:cNvPr>
              <p:cNvSpPr txBox="1"/>
              <p:nvPr/>
            </p:nvSpPr>
            <p:spPr>
              <a:xfrm>
                <a:off x="7859852" y="4000363"/>
                <a:ext cx="578910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</a:t>
                </a:r>
              </a:p>
            </p:txBody>
          </p:sp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8FEF35F6-52C2-4F59-9314-BB4E198076C8}"/>
                  </a:ext>
                </a:extLst>
              </p:cNvPr>
              <p:cNvSpPr/>
              <p:nvPr/>
            </p:nvSpPr>
            <p:spPr>
              <a:xfrm>
                <a:off x="601469" y="2053168"/>
                <a:ext cx="1681202" cy="415435"/>
              </a:xfrm>
              <a:prstGeom prst="rect">
                <a:avLst/>
              </a:prstGeom>
              <a:ln w="1270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/>
                  <a:t>Freifläche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D1247905-CAAB-4F0F-93FA-9C83334DB3E8}"/>
                  </a:ext>
                </a:extLst>
              </p:cNvPr>
              <p:cNvSpPr/>
              <p:nvPr/>
            </p:nvSpPr>
            <p:spPr>
              <a:xfrm>
                <a:off x="3527739" y="2053168"/>
                <a:ext cx="1278281" cy="415435"/>
              </a:xfrm>
              <a:prstGeom prst="rect">
                <a:avLst/>
              </a:prstGeom>
              <a:ln w="1270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/>
                  <a:t>Dachanlage</a:t>
                </a:r>
              </a:p>
            </p:txBody>
          </p:sp>
          <p:cxnSp>
            <p:nvCxnSpPr>
              <p:cNvPr id="32" name="Gerade Verbindung mit Pfeil 31">
                <a:extLst>
                  <a:ext uri="{FF2B5EF4-FFF2-40B4-BE49-F238E27FC236}">
                    <a16:creationId xmlns:a16="http://schemas.microsoft.com/office/drawing/2014/main" id="{AC457704-9EB8-4704-8EFE-D7C49A632204}"/>
                  </a:ext>
                </a:extLst>
              </p:cNvPr>
              <p:cNvCxnSpPr>
                <a:cxnSpLocks/>
                <a:stCxn id="31" idx="2"/>
                <a:endCxn id="8" idx="0"/>
              </p:cNvCxnSpPr>
              <p:nvPr/>
            </p:nvCxnSpPr>
            <p:spPr>
              <a:xfrm flipH="1">
                <a:off x="4162918" y="2468603"/>
                <a:ext cx="3962" cy="422246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mit Pfeil 32">
                <a:extLst>
                  <a:ext uri="{FF2B5EF4-FFF2-40B4-BE49-F238E27FC236}">
                    <a16:creationId xmlns:a16="http://schemas.microsoft.com/office/drawing/2014/main" id="{1378757A-DE5B-4995-A69B-B7BC855D7EBD}"/>
                  </a:ext>
                </a:extLst>
              </p:cNvPr>
              <p:cNvCxnSpPr>
                <a:cxnSpLocks/>
                <a:stCxn id="30" idx="2"/>
                <a:endCxn id="50" idx="0"/>
              </p:cNvCxnSpPr>
              <p:nvPr/>
            </p:nvCxnSpPr>
            <p:spPr>
              <a:xfrm>
                <a:off x="1442070" y="2468603"/>
                <a:ext cx="0" cy="684297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FCC3F4D1-E2E8-4E0E-B89C-2C2BAB17BC63}"/>
                  </a:ext>
                </a:extLst>
              </p:cNvPr>
              <p:cNvSpPr txBox="1"/>
              <p:nvPr/>
            </p:nvSpPr>
            <p:spPr>
              <a:xfrm>
                <a:off x="2894332" y="5039165"/>
                <a:ext cx="1008112" cy="400110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algn="ctr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Ja </a:t>
                </a:r>
                <a:b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</a:br>
                <a:r>
                  <a:rPr lang="de-DE" sz="10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(70% Regel)</a:t>
                </a:r>
              </a:p>
            </p:txBody>
          </p:sp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C1E02264-6398-4882-8427-2ECA6B554738}"/>
                  </a:ext>
                </a:extLst>
              </p:cNvPr>
              <p:cNvSpPr txBox="1"/>
              <p:nvPr/>
            </p:nvSpPr>
            <p:spPr>
              <a:xfrm>
                <a:off x="7118545" y="4402211"/>
                <a:ext cx="1707526" cy="80021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2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EM-Agent</a:t>
                </a:r>
              </a:p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endPara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endPara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F5B211AA-A8E3-471D-BC0C-A4E4516481A2}"/>
                </a:ext>
              </a:extLst>
            </p:cNvPr>
            <p:cNvSpPr/>
            <p:nvPr/>
          </p:nvSpPr>
          <p:spPr>
            <a:xfrm>
              <a:off x="716719" y="3295579"/>
              <a:ext cx="1681202" cy="49346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roßtechnische PV-Anlagen</a:t>
              </a:r>
              <a:endParaRPr lang="de-DE" sz="1400" kern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62" name="Gerade Verbindung mit Pfeil 61">
              <a:extLst>
                <a:ext uri="{FF2B5EF4-FFF2-40B4-BE49-F238E27FC236}">
                  <a16:creationId xmlns:a16="http://schemas.microsoft.com/office/drawing/2014/main" id="{FD6FE2A5-94D0-4A04-B603-D7EC87960324}"/>
                </a:ext>
              </a:extLst>
            </p:cNvPr>
            <p:cNvCxnSpPr>
              <a:cxnSpLocks/>
              <a:stCxn id="50" idx="2"/>
              <a:endCxn id="13" idx="0"/>
            </p:cNvCxnSpPr>
            <p:nvPr/>
          </p:nvCxnSpPr>
          <p:spPr>
            <a:xfrm>
              <a:off x="1557320" y="3789040"/>
              <a:ext cx="0" cy="288032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Verbinder: gewinkelt 82">
              <a:extLst>
                <a:ext uri="{FF2B5EF4-FFF2-40B4-BE49-F238E27FC236}">
                  <a16:creationId xmlns:a16="http://schemas.microsoft.com/office/drawing/2014/main" id="{457B0AF5-DDF0-4392-9BBA-3CC30344D42F}"/>
                </a:ext>
              </a:extLst>
            </p:cNvPr>
            <p:cNvCxnSpPr>
              <a:cxnSpLocks/>
              <a:stCxn id="9" idx="2"/>
              <a:endCxn id="11" idx="3"/>
            </p:cNvCxnSpPr>
            <p:nvPr/>
          </p:nvCxnSpPr>
          <p:spPr>
            <a:xfrm rot="5400000">
              <a:off x="5053904" y="3759291"/>
              <a:ext cx="846722" cy="1411197"/>
            </a:xfrm>
            <a:prstGeom prst="bentConnector2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2" name="Rechteck 101">
              <a:extLst>
                <a:ext uri="{FF2B5EF4-FFF2-40B4-BE49-F238E27FC236}">
                  <a16:creationId xmlns:a16="http://schemas.microsoft.com/office/drawing/2014/main" id="{402301CD-8124-4C35-BB6A-08BB238137FF}"/>
                </a:ext>
              </a:extLst>
            </p:cNvPr>
            <p:cNvSpPr/>
            <p:nvPr/>
          </p:nvSpPr>
          <p:spPr>
            <a:xfrm>
              <a:off x="9599374" y="3295578"/>
              <a:ext cx="1681202" cy="493461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Hausdach PV-Anlagen</a:t>
              </a:r>
              <a:endParaRPr lang="de-DE" sz="1400" kern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05" name="Gerade Verbindung mit Pfeil 104">
              <a:extLst>
                <a:ext uri="{FF2B5EF4-FFF2-40B4-BE49-F238E27FC236}">
                  <a16:creationId xmlns:a16="http://schemas.microsoft.com/office/drawing/2014/main" id="{2293A2AF-59FC-4686-9759-C1C533CA6BEB}"/>
                </a:ext>
              </a:extLst>
            </p:cNvPr>
            <p:cNvCxnSpPr>
              <a:cxnSpLocks/>
              <a:stCxn id="102" idx="2"/>
              <a:endCxn id="24" idx="0"/>
            </p:cNvCxnSpPr>
            <p:nvPr/>
          </p:nvCxnSpPr>
          <p:spPr>
            <a:xfrm>
              <a:off x="10439975" y="3789039"/>
              <a:ext cx="1" cy="288033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8" name="Gerade Verbindung mit Pfeil 107">
              <a:extLst>
                <a:ext uri="{FF2B5EF4-FFF2-40B4-BE49-F238E27FC236}">
                  <a16:creationId xmlns:a16="http://schemas.microsoft.com/office/drawing/2014/main" id="{957D276C-5936-4A21-A8FD-DCBE5FFDA354}"/>
                </a:ext>
              </a:extLst>
            </p:cNvPr>
            <p:cNvCxnSpPr>
              <a:cxnSpLocks/>
              <a:stCxn id="10" idx="2"/>
              <a:endCxn id="42" idx="0"/>
            </p:cNvCxnSpPr>
            <p:nvPr/>
          </p:nvCxnSpPr>
          <p:spPr>
            <a:xfrm>
              <a:off x="8087558" y="4039586"/>
              <a:ext cx="0" cy="505304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996356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EDB595A-E681-446F-AD0F-E30E6A14B309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8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ur Modellierung der PV-Systeme wird auf ein Python Package (</a:t>
            </a:r>
            <a:r>
              <a:rPr lang="de-DE" dirty="0" err="1"/>
              <a:t>pvlib</a:t>
            </a:r>
            <a:r>
              <a:rPr lang="de-DE" dirty="0"/>
              <a:t>) zurückgegriffen. Alle großtechnischen Anlagen werden zu einem System zusammengefass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r>
              <a:rPr lang="de-DE" sz="1400" dirty="0"/>
              <a:t>Daten aus dem Marktstammdatenregister:</a:t>
            </a:r>
          </a:p>
          <a:p>
            <a:pPr lvl="1"/>
            <a:r>
              <a:rPr lang="de-DE" sz="1200" dirty="0"/>
              <a:t>Nennleistung, Standort</a:t>
            </a:r>
          </a:p>
          <a:p>
            <a:pPr lvl="1"/>
            <a:endParaRPr lang="de-DE" sz="1400" dirty="0"/>
          </a:p>
          <a:p>
            <a:r>
              <a:rPr lang="de-DE" sz="1400" dirty="0"/>
              <a:t>Das Python Package </a:t>
            </a:r>
            <a:r>
              <a:rPr lang="de-DE" sz="1400" i="1" dirty="0" err="1"/>
              <a:t>pvlib</a:t>
            </a:r>
            <a:r>
              <a:rPr lang="de-DE" sz="1400" i="1" dirty="0"/>
              <a:t> </a:t>
            </a:r>
            <a:r>
              <a:rPr lang="de-DE" sz="1400" dirty="0"/>
              <a:t>übernimmt die Berechnung für eine geneigt &amp; ausgerichtete Fläche.</a:t>
            </a:r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/>
              <a:t>Es wurde eine </a:t>
            </a:r>
            <a:r>
              <a:rPr lang="de-DE" sz="1400" b="1" dirty="0"/>
              <a:t>Süd Ausrichtung</a:t>
            </a:r>
            <a:r>
              <a:rPr lang="de-DE" sz="1400" dirty="0"/>
              <a:t> und eine  </a:t>
            </a:r>
            <a:r>
              <a:rPr lang="de-DE" sz="1400" b="1" dirty="0"/>
              <a:t>Neigung</a:t>
            </a:r>
            <a:r>
              <a:rPr lang="de-DE" sz="1400" dirty="0"/>
              <a:t> von </a:t>
            </a:r>
            <a:r>
              <a:rPr lang="de-DE" sz="1400" b="1" dirty="0"/>
              <a:t>35° </a:t>
            </a:r>
            <a:r>
              <a:rPr lang="de-DE" sz="1400" dirty="0"/>
              <a:t>angenommen.</a:t>
            </a:r>
          </a:p>
          <a:p>
            <a:endParaRPr lang="de-DE" sz="1400" dirty="0"/>
          </a:p>
          <a:p>
            <a:r>
              <a:rPr lang="de-DE" sz="1400" dirty="0"/>
              <a:t>Da der Modultyp unbekannt ist, wird ein mittlerer </a:t>
            </a:r>
            <a:r>
              <a:rPr lang="de-DE" sz="1400" b="1" dirty="0"/>
              <a:t>Wirkungsgrad</a:t>
            </a:r>
            <a:r>
              <a:rPr lang="de-DE" sz="1400" dirty="0"/>
              <a:t> von </a:t>
            </a:r>
            <a:r>
              <a:rPr lang="de-DE" sz="1400" b="1" dirty="0"/>
              <a:t>0,14</a:t>
            </a:r>
            <a:r>
              <a:rPr lang="de-DE" sz="1400" dirty="0"/>
              <a:t> angenommen.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2679112" y="2303880"/>
            <a:chExt cx="6432095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C7C5B78-D973-4C23-9FA9-A71A2C495D64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roßtechnische PV-Anlagen</a:t>
              </a:r>
              <a:endParaRPr lang="de-DE" sz="1600" kern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usrich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igung</a:t>
              </a:r>
            </a:p>
          </p:txBody>
        </p: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5" name="Grafik 34" descr="Solarmodule">
            <a:extLst>
              <a:ext uri="{FF2B5EF4-FFF2-40B4-BE49-F238E27FC236}">
                <a16:creationId xmlns:a16="http://schemas.microsoft.com/office/drawing/2014/main" id="{C9AFF84E-0CE7-4B77-91DB-BC3CFC726368}"/>
              </a:ext>
            </a:extLst>
          </p:cNvPr>
          <p:cNvGrpSpPr/>
          <p:nvPr/>
        </p:nvGrpSpPr>
        <p:grpSpPr>
          <a:xfrm>
            <a:off x="3745999" y="2569419"/>
            <a:ext cx="382706" cy="360041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4AD599C-DB57-4EC8-835D-55875D10211A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F5020D1-670D-44D1-8523-1AD596FFF177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E4F57CE-DFFC-47EA-B370-7A02F399A243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C17DD151-1D42-4EBD-AE4C-0F7B3909A114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029F79F2-B768-425D-B06A-AC67443AD3A5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3AA7B012-3E8A-4AB4-834A-718DAEBA4373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7A9242F-2F5E-47B4-8F7F-0D709C97AE2D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0CCAA09-CC9C-473A-827E-1BB884968D68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08143BB-AD7B-4B04-A1DA-6869B5222410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D7794E21-E67B-4AA7-83A6-E5E028CE1EE8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590816F2-EF09-4D8A-8B59-36FF7790C0E1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215D608-D8D3-4258-8591-9A36016C9912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B770AF1C-F194-4BDB-9E3A-436A8945CFF2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A8F9784-8578-4210-BD75-213AFA7388CC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2093934-4C53-4618-8989-B25639FFD164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80CB3ED-6383-4FD3-A8A8-FE7B074BDF4C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3FB6826-119D-4D69-88DA-21B7BC33E947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56B33533-4275-4BB1-8FA6-981BD05D0C0D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807255C0-DAA3-4E2D-8FCE-8227BF91D1AC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6989038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3A616A41-7987-4222-8A3C-18CB39C963C2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39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Im Gegensatz zur Annahme einer optimal ausgerichteten Anlage wird bei Kleinanlagen zunächst eine Klassifizierung durchgeführ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pPr marL="0" indent="0">
              <a:buNone/>
            </a:pPr>
            <a:r>
              <a:rPr lang="de-DE" sz="1200" b="1" dirty="0"/>
              <a:t>Ausrichtung:</a:t>
            </a:r>
          </a:p>
          <a:p>
            <a:endParaRPr lang="de-DE" sz="1400" b="1" dirty="0"/>
          </a:p>
          <a:p>
            <a:endParaRPr lang="de-DE" sz="1400" b="1" dirty="0"/>
          </a:p>
          <a:p>
            <a:endParaRPr lang="de-DE" sz="1400" b="1" dirty="0"/>
          </a:p>
          <a:p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200" b="1" dirty="0"/>
          </a:p>
          <a:p>
            <a:pPr marL="0" indent="0">
              <a:buNone/>
            </a:pPr>
            <a:r>
              <a:rPr lang="de-DE" sz="1200" b="1" dirty="0"/>
              <a:t>Neigung:</a:t>
            </a:r>
          </a:p>
          <a:p>
            <a:r>
              <a:rPr lang="de-DE" sz="1000" dirty="0">
                <a:solidFill>
                  <a:schemeClr val="tx1"/>
                </a:solidFill>
              </a:rPr>
              <a:t>25° Dachneigung (3% aller Gebäude)</a:t>
            </a:r>
          </a:p>
          <a:p>
            <a:r>
              <a:rPr lang="de-DE" sz="1000" dirty="0">
                <a:solidFill>
                  <a:schemeClr val="tx1"/>
                </a:solidFill>
              </a:rPr>
              <a:t>35° Dachneigung (94% aller Gebäude)</a:t>
            </a:r>
          </a:p>
          <a:p>
            <a:r>
              <a:rPr lang="de-DE" sz="1000" dirty="0">
                <a:solidFill>
                  <a:schemeClr val="tx1"/>
                </a:solidFill>
              </a:rPr>
              <a:t>45° Dachneigung (3% aller Gebäude)</a:t>
            </a:r>
          </a:p>
          <a:p>
            <a:endParaRPr lang="de-DE" sz="800" b="1" dirty="0">
              <a:solidFill>
                <a:schemeClr val="tx1"/>
              </a:solidFill>
            </a:endParaRPr>
          </a:p>
          <a:p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866F4AB-92E4-49B1-A6F5-1D98285E2485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0231844F-10A0-431D-955C-D48440089870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8F613BA0-F7AD-44D8-B63F-BB8507B1752C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67603227-46B4-4651-8348-54F938DBDDFA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66558E3C-3409-4FB0-BF7B-4610DE77E22F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Hausdach PV-Anlagen</a:t>
                </a:r>
                <a:endParaRPr lang="de-DE" sz="1600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Ausrich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igung</a:t>
                </a:r>
              </a:p>
            </p:txBody>
          </p:sp>
          <p:sp>
            <p:nvSpPr>
              <p:cNvPr id="50" name="Pfeil: nach oben 49">
                <a:extLst>
                  <a:ext uri="{FF2B5EF4-FFF2-40B4-BE49-F238E27FC236}">
                    <a16:creationId xmlns:a16="http://schemas.microsoft.com/office/drawing/2014/main" id="{0AA6F378-FD6A-4F5A-9001-A33B9FB36ADC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Pfeil: nach oben 50">
                <a:extLst>
                  <a:ext uri="{FF2B5EF4-FFF2-40B4-BE49-F238E27FC236}">
                    <a16:creationId xmlns:a16="http://schemas.microsoft.com/office/drawing/2014/main" id="{1BE2AFB5-87B6-48E9-9035-5F89F9F586FF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5" name="Grafik 34" descr="Solarmodule">
              <a:extLst>
                <a:ext uri="{FF2B5EF4-FFF2-40B4-BE49-F238E27FC236}">
                  <a16:creationId xmlns:a16="http://schemas.microsoft.com/office/drawing/2014/main" id="{C9AFF84E-0CE7-4B77-91DB-BC3CFC726368}"/>
                </a:ext>
              </a:extLst>
            </p:cNvPr>
            <p:cNvGrpSpPr/>
            <p:nvPr/>
          </p:nvGrpSpPr>
          <p:grpSpPr>
            <a:xfrm>
              <a:off x="3745999" y="2569419"/>
              <a:ext cx="382706" cy="360041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E4AD599C-DB57-4EC8-835D-55875D10211A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F5020D1-670D-44D1-8523-1AD596FFF177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9E4F57CE-DFFC-47EA-B370-7A02F399A243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C17DD151-1D42-4EBD-AE4C-0F7B3909A114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29F79F2-B768-425D-B06A-AC67443AD3A5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AA7B012-3E8A-4AB4-834A-718DAEBA4373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87A9242F-2F5E-47B4-8F7F-0D709C97AE2D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00CCAA09-CC9C-473A-827E-1BB884968D68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08143BB-AD7B-4B04-A1DA-6869B5222410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D7794E21-E67B-4AA7-83A6-E5E028CE1EE8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90816F2-EF09-4D8A-8B59-36FF7790C0E1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1215D608-D8D3-4258-8591-9A36016C9912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770AF1C-F194-4BDB-9E3A-436A8945CFF2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7A8F9784-8578-4210-BD75-213AFA7388CC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92093934-4C53-4618-8989-B25639FFD164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A80CB3ED-6383-4FD3-A8A8-FE7B074BDF4C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93FB6826-119D-4D69-88DA-21B7BC33E947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56B33533-4275-4BB1-8FA6-981BD05D0C0D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807255C0-DAA3-4E2D-8FCE-8227BF91D1AC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7E6485E-E29F-4A7F-B703-C0C393EEC735}"/>
              </a:ext>
            </a:extLst>
          </p:cNvPr>
          <p:cNvGrpSpPr/>
          <p:nvPr/>
        </p:nvGrpSpPr>
        <p:grpSpPr>
          <a:xfrm>
            <a:off x="6822049" y="2599049"/>
            <a:ext cx="3658641" cy="1910262"/>
            <a:chOff x="7129630" y="2687725"/>
            <a:chExt cx="4274216" cy="223166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FADFAC3-AA87-402B-8A93-D78409215E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33" t="7104" r="3302" b="3144"/>
            <a:stretch/>
          </p:blipFill>
          <p:spPr bwMode="auto">
            <a:xfrm>
              <a:off x="7129630" y="2687725"/>
              <a:ext cx="4274216" cy="2231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B1EE5AF5-47F7-41A4-BF4B-92A2BD68F5AE}"/>
                </a:ext>
              </a:extLst>
            </p:cNvPr>
            <p:cNvSpPr/>
            <p:nvPr/>
          </p:nvSpPr>
          <p:spPr>
            <a:xfrm>
              <a:off x="7630083" y="3201421"/>
              <a:ext cx="1150533" cy="123569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800" b="1" dirty="0">
                  <a:solidFill>
                    <a:schemeClr val="tx1"/>
                  </a:solidFill>
                </a:rPr>
                <a:t>Klasse West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645B7BE-17B1-4101-87E3-CCFD906040FC}"/>
                </a:ext>
              </a:extLst>
            </p:cNvPr>
            <p:cNvSpPr/>
            <p:nvPr/>
          </p:nvSpPr>
          <p:spPr>
            <a:xfrm>
              <a:off x="8775536" y="3201421"/>
              <a:ext cx="1352912" cy="123569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800" b="1" dirty="0">
                  <a:solidFill>
                    <a:schemeClr val="tx1"/>
                  </a:solidFill>
                </a:rPr>
                <a:t>Klasse Süd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E94B58F-7498-4F55-9BB8-9AD1244B5261}"/>
                </a:ext>
              </a:extLst>
            </p:cNvPr>
            <p:cNvSpPr/>
            <p:nvPr/>
          </p:nvSpPr>
          <p:spPr>
            <a:xfrm>
              <a:off x="10128448" y="3201421"/>
              <a:ext cx="1150533" cy="123569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800" b="1" dirty="0">
                  <a:solidFill>
                    <a:schemeClr val="tx1"/>
                  </a:solidFill>
                </a:rPr>
                <a:t>Klasse O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2921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1 – Aufbau der Simulatio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3935760" y="1963316"/>
            <a:ext cx="7478640" cy="4012037"/>
          </a:xfrm>
        </p:spPr>
        <p:txBody>
          <a:bodyPr/>
          <a:lstStyle/>
          <a:p>
            <a:pPr algn="l"/>
            <a:r>
              <a:rPr lang="de-DE" dirty="0"/>
              <a:t>Deutschland wird in </a:t>
            </a:r>
            <a:r>
              <a:rPr lang="de-DE" b="1" dirty="0"/>
              <a:t>zweistellige</a:t>
            </a:r>
            <a:r>
              <a:rPr lang="de-DE" dirty="0"/>
              <a:t> Postleitzahlregion aufgeteilt </a:t>
            </a:r>
          </a:p>
          <a:p>
            <a:pPr lvl="1"/>
            <a:r>
              <a:rPr lang="de-DE" dirty="0"/>
              <a:t>eigenes Wetter</a:t>
            </a:r>
          </a:p>
          <a:p>
            <a:pPr lvl="1"/>
            <a:r>
              <a:rPr lang="de-DE" dirty="0"/>
              <a:t>eigener Erzeugungsleistung und Nachfrage</a:t>
            </a:r>
          </a:p>
          <a:p>
            <a:pPr lvl="1"/>
            <a:r>
              <a:rPr lang="de-DE" dirty="0"/>
              <a:t>„Kuppelkapazitäten“ zu den anderen Gebieten.</a:t>
            </a:r>
          </a:p>
          <a:p>
            <a:endParaRPr lang="de-DE" dirty="0"/>
          </a:p>
          <a:p>
            <a:r>
              <a:rPr lang="de-DE" dirty="0"/>
              <a:t>In jedem Gebiet gibt es drei Typen von Agenten:</a:t>
            </a:r>
          </a:p>
          <a:p>
            <a:pPr lvl="1"/>
            <a:r>
              <a:rPr lang="de-DE" dirty="0"/>
              <a:t>Konventionelle Erzeugung (PWP-Agent),		</a:t>
            </a:r>
            <a:r>
              <a:rPr lang="de-DE" i="1" dirty="0"/>
              <a:t>(80 PWP-Agent)</a:t>
            </a:r>
          </a:p>
          <a:p>
            <a:pPr lvl="1"/>
            <a:r>
              <a:rPr lang="de-DE" dirty="0"/>
              <a:t>Erneuerbare Energien (RES-Agent) und		</a:t>
            </a:r>
            <a:r>
              <a:rPr lang="de-DE" i="1" dirty="0"/>
              <a:t>(95 RES-Agent)</a:t>
            </a:r>
          </a:p>
          <a:p>
            <a:pPr lvl="1"/>
            <a:r>
              <a:rPr lang="de-DE" dirty="0"/>
              <a:t> Stromnachfrage (DEM-Agent) vertreten.		</a:t>
            </a:r>
            <a:r>
              <a:rPr lang="de-DE" i="1" dirty="0"/>
              <a:t>(95 DEM-Agent)</a:t>
            </a:r>
          </a:p>
          <a:p>
            <a:endParaRPr lang="de-DE" dirty="0"/>
          </a:p>
          <a:p>
            <a:r>
              <a:rPr lang="de-DE" dirty="0"/>
              <a:t>Die Netzberechnung wird von einem Agenten übernommen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FB3E961-B29C-4FCC-9407-6F9E12B9383C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</a:t>
            </a:fld>
            <a:endParaRPr lang="de-DE" alt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D7CD249-ED0B-4272-BAA9-8F97882FC7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as Modell berücksichtigt die räumliche Aufteilung der verschiedenen dezentralen Systeme und Akteure.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1E2EF05-FB26-4137-8A23-BC9CA699CC4C}"/>
              </a:ext>
            </a:extLst>
          </p:cNvPr>
          <p:cNvGrpSpPr/>
          <p:nvPr/>
        </p:nvGrpSpPr>
        <p:grpSpPr>
          <a:xfrm>
            <a:off x="528000" y="1997565"/>
            <a:ext cx="3098901" cy="4057030"/>
            <a:chOff x="528000" y="1944514"/>
            <a:chExt cx="3098901" cy="4057030"/>
          </a:xfrm>
        </p:grpSpPr>
        <p:pic>
          <p:nvPicPr>
            <p:cNvPr id="58370" name="Picture 2" descr="Heiko Jacobs: Postleitzahlen">
              <a:extLst>
                <a:ext uri="{FF2B5EF4-FFF2-40B4-BE49-F238E27FC236}">
                  <a16:creationId xmlns:a16="http://schemas.microsoft.com/office/drawing/2014/main" id="{D5FBC227-0B9D-4C08-AA69-9FB4F17B2E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000" y="1988840"/>
              <a:ext cx="3017365" cy="4012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DC028B7-9836-4671-AB16-D4A22E3C4119}"/>
                </a:ext>
              </a:extLst>
            </p:cNvPr>
            <p:cNvSpPr/>
            <p:nvPr/>
          </p:nvSpPr>
          <p:spPr>
            <a:xfrm>
              <a:off x="1991544" y="1944514"/>
              <a:ext cx="1440160" cy="1440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0091127-3F58-47C5-A864-E62F4DCB2DEC}"/>
                </a:ext>
              </a:extLst>
            </p:cNvPr>
            <p:cNvSpPr/>
            <p:nvPr/>
          </p:nvSpPr>
          <p:spPr>
            <a:xfrm>
              <a:off x="2804458" y="5911381"/>
              <a:ext cx="822443" cy="9016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440858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D6451BBE-0145-490F-9D7F-1617C9D39D65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0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Klassifizierung erfolgt anhand der Ausrichtung und Neigung sowie der installierten Peak-Leistung. Es werden 27 Klassen unterschieden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pPr marL="0" indent="0">
              <a:buNone/>
            </a:pPr>
            <a:r>
              <a:rPr lang="de-DE" sz="1200" b="1" dirty="0"/>
              <a:t>Nennleistung:</a:t>
            </a:r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r>
              <a:rPr lang="de-DE" sz="1200" b="1" dirty="0"/>
              <a:t>Klassen:</a:t>
            </a:r>
          </a:p>
          <a:p>
            <a:endParaRPr lang="de-DE" sz="1400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b="1" dirty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5" name="Grafik 34" descr="Solarmodule">
            <a:extLst>
              <a:ext uri="{FF2B5EF4-FFF2-40B4-BE49-F238E27FC236}">
                <a16:creationId xmlns:a16="http://schemas.microsoft.com/office/drawing/2014/main" id="{C9AFF84E-0CE7-4B77-91DB-BC3CFC726368}"/>
              </a:ext>
            </a:extLst>
          </p:cNvPr>
          <p:cNvGrpSpPr/>
          <p:nvPr/>
        </p:nvGrpSpPr>
        <p:grpSpPr>
          <a:xfrm>
            <a:off x="3745999" y="2569419"/>
            <a:ext cx="382706" cy="360041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4AD599C-DB57-4EC8-835D-55875D10211A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F5020D1-670D-44D1-8523-1AD596FFF177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E4F57CE-DFFC-47EA-B370-7A02F399A243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C17DD151-1D42-4EBD-AE4C-0F7B3909A114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029F79F2-B768-425D-B06A-AC67443AD3A5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3AA7B012-3E8A-4AB4-834A-718DAEBA4373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7A9242F-2F5E-47B4-8F7F-0D709C97AE2D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0CCAA09-CC9C-473A-827E-1BB884968D68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08143BB-AD7B-4B04-A1DA-6869B5222410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D7794E21-E67B-4AA7-83A6-E5E028CE1EE8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590816F2-EF09-4D8A-8B59-36FF7790C0E1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1215D608-D8D3-4258-8591-9A36016C9912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B770AF1C-F194-4BDB-9E3A-436A8945CFF2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A8F9784-8578-4210-BD75-213AFA7388CC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2093934-4C53-4618-8989-B25639FFD164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A80CB3ED-6383-4FD3-A8A8-FE7B074BDF4C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3FB6826-119D-4D69-88DA-21B7BC33E947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56B33533-4275-4BB1-8FA6-981BD05D0C0D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807255C0-DAA3-4E2D-8FCE-8227BF91D1AC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5457E30C-FCF3-4360-A130-F85FC11611EA}"/>
              </a:ext>
            </a:extLst>
          </p:cNvPr>
          <p:cNvGrpSpPr/>
          <p:nvPr/>
        </p:nvGrpSpPr>
        <p:grpSpPr>
          <a:xfrm>
            <a:off x="6784619" y="2681216"/>
            <a:ext cx="3386005" cy="1675616"/>
            <a:chOff x="7301425" y="2591490"/>
            <a:chExt cx="3951426" cy="1955423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8C805C4E-74F4-48D3-948C-BCF96B8552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grayscl/>
            </a:blip>
            <a:srcRect l="1669" t="4015" r="2737"/>
            <a:stretch/>
          </p:blipFill>
          <p:spPr>
            <a:xfrm>
              <a:off x="7399646" y="2591490"/>
              <a:ext cx="3664906" cy="1829699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B3398ABD-65C5-4EAF-927A-5FB494433F8D}"/>
                </a:ext>
              </a:extLst>
            </p:cNvPr>
            <p:cNvSpPr txBox="1"/>
            <p:nvPr/>
          </p:nvSpPr>
          <p:spPr>
            <a:xfrm>
              <a:off x="7301425" y="4313451"/>
              <a:ext cx="3951426" cy="233462"/>
            </a:xfrm>
            <a:prstGeom prst="rect">
              <a:avLst/>
            </a:prstGeom>
            <a:solidFill>
              <a:schemeClr val="bg1"/>
            </a:solidFill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7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[kW]      2                   4                   6                  8                   10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1951F3A-C010-4469-A07B-0FDEBC1E1276}"/>
                </a:ext>
              </a:extLst>
            </p:cNvPr>
            <p:cNvSpPr/>
            <p:nvPr/>
          </p:nvSpPr>
          <p:spPr>
            <a:xfrm>
              <a:off x="7509329" y="2623823"/>
              <a:ext cx="936000" cy="1695963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700" b="1" dirty="0">
                  <a:solidFill>
                    <a:schemeClr val="tx1"/>
                  </a:solidFill>
                </a:rPr>
                <a:t>Klasse Klein</a:t>
              </a: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A167969B-5F27-467F-BB22-18E9FAC56419}"/>
                </a:ext>
              </a:extLst>
            </p:cNvPr>
            <p:cNvSpPr/>
            <p:nvPr/>
          </p:nvSpPr>
          <p:spPr>
            <a:xfrm>
              <a:off x="8445330" y="2623820"/>
              <a:ext cx="1584000" cy="1695964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800" b="1" dirty="0">
                  <a:solidFill>
                    <a:schemeClr val="tx1"/>
                  </a:solidFill>
                </a:rPr>
                <a:t>Klasse Mittel</a:t>
              </a: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11A1C48E-0F0B-4C34-8E9D-4BF799280563}"/>
                </a:ext>
              </a:extLst>
            </p:cNvPr>
            <p:cNvSpPr/>
            <p:nvPr/>
          </p:nvSpPr>
          <p:spPr>
            <a:xfrm>
              <a:off x="10032208" y="2623820"/>
              <a:ext cx="936000" cy="1695963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800" b="1" dirty="0">
                  <a:solidFill>
                    <a:schemeClr val="tx1"/>
                  </a:solidFill>
                </a:rPr>
                <a:t>Klasse Groß</a:t>
              </a:r>
            </a:p>
          </p:txBody>
        </p:sp>
      </p:grpSp>
      <p:grpSp>
        <p:nvGrpSpPr>
          <p:cNvPr id="181" name="Gruppieren 180">
            <a:extLst>
              <a:ext uri="{FF2B5EF4-FFF2-40B4-BE49-F238E27FC236}">
                <a16:creationId xmlns:a16="http://schemas.microsoft.com/office/drawing/2014/main" id="{9B8B4599-529F-4ED1-AAB4-3BB8805C2D8A}"/>
              </a:ext>
            </a:extLst>
          </p:cNvPr>
          <p:cNvGrpSpPr/>
          <p:nvPr/>
        </p:nvGrpSpPr>
        <p:grpSpPr>
          <a:xfrm>
            <a:off x="6807964" y="4772960"/>
            <a:ext cx="2904829" cy="1202183"/>
            <a:chOff x="7293902" y="4577213"/>
            <a:chExt cx="1694347" cy="701217"/>
          </a:xfrm>
        </p:grpSpPr>
        <p:grpSp>
          <p:nvGrpSpPr>
            <p:cNvPr id="148" name="Gruppieren 147">
              <a:extLst>
                <a:ext uri="{FF2B5EF4-FFF2-40B4-BE49-F238E27FC236}">
                  <a16:creationId xmlns:a16="http://schemas.microsoft.com/office/drawing/2014/main" id="{4E5DA8D0-1966-45FF-B0E9-B67443233488}"/>
                </a:ext>
              </a:extLst>
            </p:cNvPr>
            <p:cNvGrpSpPr/>
            <p:nvPr/>
          </p:nvGrpSpPr>
          <p:grpSpPr>
            <a:xfrm>
              <a:off x="7804430" y="4577213"/>
              <a:ext cx="1183819" cy="701217"/>
              <a:chOff x="9532964" y="4606702"/>
              <a:chExt cx="1881435" cy="1114440"/>
            </a:xfrm>
          </p:grpSpPr>
          <p:grpSp>
            <p:nvGrpSpPr>
              <p:cNvPr id="149" name="Gruppieren 148">
                <a:extLst>
                  <a:ext uri="{FF2B5EF4-FFF2-40B4-BE49-F238E27FC236}">
                    <a16:creationId xmlns:a16="http://schemas.microsoft.com/office/drawing/2014/main" id="{1B7D911B-7F8B-41F6-A99D-7467A0BED9A0}"/>
                  </a:ext>
                </a:extLst>
              </p:cNvPr>
              <p:cNvGrpSpPr/>
              <p:nvPr/>
            </p:nvGrpSpPr>
            <p:grpSpPr>
              <a:xfrm>
                <a:off x="9532964" y="4606702"/>
                <a:ext cx="1881435" cy="1114440"/>
                <a:chOff x="7249722" y="3053679"/>
                <a:chExt cx="1881435" cy="1114440"/>
              </a:xfrm>
            </p:grpSpPr>
            <p:sp>
              <p:nvSpPr>
                <p:cNvPr id="156" name="Rechteck 155">
                  <a:extLst>
                    <a:ext uri="{FF2B5EF4-FFF2-40B4-BE49-F238E27FC236}">
                      <a16:creationId xmlns:a16="http://schemas.microsoft.com/office/drawing/2014/main" id="{7B685D41-3C52-4C38-BB88-463656BC1933}"/>
                    </a:ext>
                  </a:extLst>
                </p:cNvPr>
                <p:cNvSpPr/>
                <p:nvPr/>
              </p:nvSpPr>
              <p:spPr>
                <a:xfrm>
                  <a:off x="7249722" y="3322064"/>
                  <a:ext cx="1881435" cy="846055"/>
                </a:xfrm>
                <a:prstGeom prst="rect">
                  <a:avLst/>
                </a:prstGeom>
                <a:noFill/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00" dirty="0"/>
                </a:p>
              </p:txBody>
            </p:sp>
            <p:sp>
              <p:nvSpPr>
                <p:cNvPr id="157" name="Rechteck 156">
                  <a:extLst>
                    <a:ext uri="{FF2B5EF4-FFF2-40B4-BE49-F238E27FC236}">
                      <a16:creationId xmlns:a16="http://schemas.microsoft.com/office/drawing/2014/main" id="{A14138DF-1485-4425-BC17-AD9A1FDB4AC0}"/>
                    </a:ext>
                  </a:extLst>
                </p:cNvPr>
                <p:cNvSpPr/>
                <p:nvPr/>
              </p:nvSpPr>
              <p:spPr>
                <a:xfrm>
                  <a:off x="7347513" y="3393649"/>
                  <a:ext cx="524500" cy="188043"/>
                </a:xfrm>
                <a:prstGeom prst="rect">
                  <a:avLst/>
                </a:prstGeom>
                <a:ln w="3175"/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900" dirty="0"/>
                    <a:t>25°</a:t>
                  </a:r>
                </a:p>
              </p:txBody>
            </p:sp>
            <p:sp>
              <p:nvSpPr>
                <p:cNvPr id="158" name="Rechteck 157">
                  <a:extLst>
                    <a:ext uri="{FF2B5EF4-FFF2-40B4-BE49-F238E27FC236}">
                      <a16:creationId xmlns:a16="http://schemas.microsoft.com/office/drawing/2014/main" id="{79DC6187-ADC7-45F9-89FD-2E8ABFA5E499}"/>
                    </a:ext>
                  </a:extLst>
                </p:cNvPr>
                <p:cNvSpPr/>
                <p:nvPr/>
              </p:nvSpPr>
              <p:spPr>
                <a:xfrm>
                  <a:off x="7347513" y="3644563"/>
                  <a:ext cx="524500" cy="188043"/>
                </a:xfrm>
                <a:prstGeom prst="rect">
                  <a:avLst/>
                </a:prstGeom>
                <a:ln w="3175"/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900" dirty="0"/>
                    <a:t>25°</a:t>
                  </a:r>
                </a:p>
              </p:txBody>
            </p:sp>
            <p:sp>
              <p:nvSpPr>
                <p:cNvPr id="159" name="Rechteck 158">
                  <a:extLst>
                    <a:ext uri="{FF2B5EF4-FFF2-40B4-BE49-F238E27FC236}">
                      <a16:creationId xmlns:a16="http://schemas.microsoft.com/office/drawing/2014/main" id="{13057690-6074-481D-94E4-35C083AD21E5}"/>
                    </a:ext>
                  </a:extLst>
                </p:cNvPr>
                <p:cNvSpPr/>
                <p:nvPr/>
              </p:nvSpPr>
              <p:spPr>
                <a:xfrm>
                  <a:off x="7347513" y="3918405"/>
                  <a:ext cx="524500" cy="188043"/>
                </a:xfrm>
                <a:prstGeom prst="rect">
                  <a:avLst/>
                </a:prstGeom>
                <a:ln w="3175"/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900" dirty="0"/>
                    <a:t>25°</a:t>
                  </a:r>
                </a:p>
              </p:txBody>
            </p:sp>
            <p:sp>
              <p:nvSpPr>
                <p:cNvPr id="160" name="Textfeld 159">
                  <a:extLst>
                    <a:ext uri="{FF2B5EF4-FFF2-40B4-BE49-F238E27FC236}">
                      <a16:creationId xmlns:a16="http://schemas.microsoft.com/office/drawing/2014/main" id="{24F93AE0-488B-4E98-AC34-CFF64033F545}"/>
                    </a:ext>
                  </a:extLst>
                </p:cNvPr>
                <p:cNvSpPr txBox="1"/>
                <p:nvPr/>
              </p:nvSpPr>
              <p:spPr>
                <a:xfrm>
                  <a:off x="7357321" y="3053679"/>
                  <a:ext cx="1769666" cy="228250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algn="ctr"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1000" b="1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Klein/Mittel/Groß</a:t>
                  </a:r>
                  <a:endParaRPr lang="de-DE" sz="8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sp>
            <p:nvSpPr>
              <p:cNvPr id="150" name="Rechteck 149">
                <a:extLst>
                  <a:ext uri="{FF2B5EF4-FFF2-40B4-BE49-F238E27FC236}">
                    <a16:creationId xmlns:a16="http://schemas.microsoft.com/office/drawing/2014/main" id="{2B975386-84D4-4457-9902-BA86E99EA87E}"/>
                  </a:ext>
                </a:extLst>
              </p:cNvPr>
              <p:cNvSpPr/>
              <p:nvPr/>
            </p:nvSpPr>
            <p:spPr>
              <a:xfrm>
                <a:off x="10227981" y="4946672"/>
                <a:ext cx="524500" cy="188043"/>
              </a:xfrm>
              <a:prstGeom prst="rect">
                <a:avLst/>
              </a:prstGeom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35°</a:t>
                </a:r>
              </a:p>
            </p:txBody>
          </p:sp>
          <p:sp>
            <p:nvSpPr>
              <p:cNvPr id="151" name="Rechteck 150">
                <a:extLst>
                  <a:ext uri="{FF2B5EF4-FFF2-40B4-BE49-F238E27FC236}">
                    <a16:creationId xmlns:a16="http://schemas.microsoft.com/office/drawing/2014/main" id="{6E55AEB4-04EC-48C6-A2F8-B45F04226DFB}"/>
                  </a:ext>
                </a:extLst>
              </p:cNvPr>
              <p:cNvSpPr/>
              <p:nvPr/>
            </p:nvSpPr>
            <p:spPr>
              <a:xfrm>
                <a:off x="10823107" y="4946672"/>
                <a:ext cx="524500" cy="188043"/>
              </a:xfrm>
              <a:prstGeom prst="rect">
                <a:avLst/>
              </a:prstGeom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45°</a:t>
                </a:r>
              </a:p>
            </p:txBody>
          </p:sp>
          <p:sp>
            <p:nvSpPr>
              <p:cNvPr id="152" name="Rechteck 151">
                <a:extLst>
                  <a:ext uri="{FF2B5EF4-FFF2-40B4-BE49-F238E27FC236}">
                    <a16:creationId xmlns:a16="http://schemas.microsoft.com/office/drawing/2014/main" id="{9AE48025-D4BB-4A06-A468-ED30B7DEBAED}"/>
                  </a:ext>
                </a:extLst>
              </p:cNvPr>
              <p:cNvSpPr/>
              <p:nvPr/>
            </p:nvSpPr>
            <p:spPr>
              <a:xfrm>
                <a:off x="10227981" y="5206300"/>
                <a:ext cx="524500" cy="188043"/>
              </a:xfrm>
              <a:prstGeom prst="rect">
                <a:avLst/>
              </a:prstGeom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35°</a:t>
                </a:r>
              </a:p>
            </p:txBody>
          </p:sp>
          <p:sp>
            <p:nvSpPr>
              <p:cNvPr id="153" name="Rechteck 152">
                <a:extLst>
                  <a:ext uri="{FF2B5EF4-FFF2-40B4-BE49-F238E27FC236}">
                    <a16:creationId xmlns:a16="http://schemas.microsoft.com/office/drawing/2014/main" id="{56058248-9775-41AC-95E8-41BA50A2411C}"/>
                  </a:ext>
                </a:extLst>
              </p:cNvPr>
              <p:cNvSpPr/>
              <p:nvPr/>
            </p:nvSpPr>
            <p:spPr>
              <a:xfrm>
                <a:off x="10823107" y="5206300"/>
                <a:ext cx="524500" cy="188043"/>
              </a:xfrm>
              <a:prstGeom prst="rect">
                <a:avLst/>
              </a:prstGeom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45°</a:t>
                </a:r>
              </a:p>
            </p:txBody>
          </p:sp>
          <p:sp>
            <p:nvSpPr>
              <p:cNvPr id="154" name="Rechteck 153">
                <a:extLst>
                  <a:ext uri="{FF2B5EF4-FFF2-40B4-BE49-F238E27FC236}">
                    <a16:creationId xmlns:a16="http://schemas.microsoft.com/office/drawing/2014/main" id="{FA9AB0DF-CD04-4EC1-A735-A667D559A478}"/>
                  </a:ext>
                </a:extLst>
              </p:cNvPr>
              <p:cNvSpPr/>
              <p:nvPr/>
            </p:nvSpPr>
            <p:spPr>
              <a:xfrm>
                <a:off x="10252685" y="5471428"/>
                <a:ext cx="524500" cy="188043"/>
              </a:xfrm>
              <a:prstGeom prst="rect">
                <a:avLst/>
              </a:prstGeom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/>
                  <a:t>35°</a:t>
                </a:r>
                <a:endParaRPr lang="de-DE" sz="900" dirty="0"/>
              </a:p>
            </p:txBody>
          </p:sp>
          <p:sp>
            <p:nvSpPr>
              <p:cNvPr id="155" name="Rechteck 154">
                <a:extLst>
                  <a:ext uri="{FF2B5EF4-FFF2-40B4-BE49-F238E27FC236}">
                    <a16:creationId xmlns:a16="http://schemas.microsoft.com/office/drawing/2014/main" id="{2FD907A0-FD69-4C97-A484-705945FD67E9}"/>
                  </a:ext>
                </a:extLst>
              </p:cNvPr>
              <p:cNvSpPr/>
              <p:nvPr/>
            </p:nvSpPr>
            <p:spPr>
              <a:xfrm>
                <a:off x="10848267" y="5471428"/>
                <a:ext cx="524500" cy="188043"/>
              </a:xfrm>
              <a:prstGeom prst="rect">
                <a:avLst/>
              </a:prstGeom>
              <a:ln w="3175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de-DE" sz="900" dirty="0"/>
                  <a:t>45°</a:t>
                </a:r>
              </a:p>
            </p:txBody>
          </p:sp>
        </p:grp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7EBD647E-6CDB-47DC-BCAD-36870F7C20CE}"/>
                </a:ext>
              </a:extLst>
            </p:cNvPr>
            <p:cNvSpPr txBox="1"/>
            <p:nvPr/>
          </p:nvSpPr>
          <p:spPr>
            <a:xfrm>
              <a:off x="7297983" y="4755696"/>
              <a:ext cx="522041" cy="143617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0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st</a:t>
              </a:r>
              <a:endPara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8" name="Textfeld 177">
              <a:extLst>
                <a:ext uri="{FF2B5EF4-FFF2-40B4-BE49-F238E27FC236}">
                  <a16:creationId xmlns:a16="http://schemas.microsoft.com/office/drawing/2014/main" id="{F844BBA9-0136-4CC7-AC5B-77728826EA53}"/>
                </a:ext>
              </a:extLst>
            </p:cNvPr>
            <p:cNvSpPr txBox="1"/>
            <p:nvPr/>
          </p:nvSpPr>
          <p:spPr>
            <a:xfrm>
              <a:off x="7293902" y="4926381"/>
              <a:ext cx="522041" cy="143617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0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üd</a:t>
              </a:r>
              <a:endPara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0" name="Textfeld 179">
              <a:extLst>
                <a:ext uri="{FF2B5EF4-FFF2-40B4-BE49-F238E27FC236}">
                  <a16:creationId xmlns:a16="http://schemas.microsoft.com/office/drawing/2014/main" id="{F9218084-2C59-4910-945F-325DD5596F42}"/>
                </a:ext>
              </a:extLst>
            </p:cNvPr>
            <p:cNvSpPr txBox="1"/>
            <p:nvPr/>
          </p:nvSpPr>
          <p:spPr>
            <a:xfrm>
              <a:off x="7297983" y="5086371"/>
              <a:ext cx="522041" cy="143617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0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st</a:t>
              </a:r>
              <a:endParaRPr lang="de-DE" sz="8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2198C45-AAD1-4113-89F3-C43054A5BF19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825DDC06-6CF5-45F3-B5BE-CDEB43E6C1BB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60A9A652-2310-4AD1-AE4E-9A54A58E7593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1C5680FB-FE14-4D97-8D2D-75C62602BBAF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25C677EE-947F-4892-A376-EF6CBFE68369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Hausdach PV-Anlagen</a:t>
                </a:r>
                <a:endParaRPr lang="de-DE" sz="1600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Ausrich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igung</a:t>
                </a:r>
              </a:p>
            </p:txBody>
          </p:sp>
          <p:sp>
            <p:nvSpPr>
              <p:cNvPr id="108" name="Pfeil: nach oben 107">
                <a:extLst>
                  <a:ext uri="{FF2B5EF4-FFF2-40B4-BE49-F238E27FC236}">
                    <a16:creationId xmlns:a16="http://schemas.microsoft.com/office/drawing/2014/main" id="{EC32F104-69E0-4172-BC9B-AA642EA26867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Pfeil: nach oben 121">
                <a:extLst>
                  <a:ext uri="{FF2B5EF4-FFF2-40B4-BE49-F238E27FC236}">
                    <a16:creationId xmlns:a16="http://schemas.microsoft.com/office/drawing/2014/main" id="{FFDE38CD-C5D6-46D0-BF1E-12D5579BF610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85" name="Grafik 34" descr="Solarmodule">
              <a:extLst>
                <a:ext uri="{FF2B5EF4-FFF2-40B4-BE49-F238E27FC236}">
                  <a16:creationId xmlns:a16="http://schemas.microsoft.com/office/drawing/2014/main" id="{96BA3A08-92FA-4042-B294-D71A6C03033A}"/>
                </a:ext>
              </a:extLst>
            </p:cNvPr>
            <p:cNvGrpSpPr/>
            <p:nvPr/>
          </p:nvGrpSpPr>
          <p:grpSpPr>
            <a:xfrm>
              <a:off x="3745999" y="2569419"/>
              <a:ext cx="382706" cy="360041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A7A46458-D482-4FA3-B36A-D6EE0C26FDC4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43D55678-029E-4C35-992B-1F52D69EB6D1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6CBAA937-787F-408C-BAE3-38815CFEF93E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9CEFF12B-55A9-49F9-BF62-8436BF8EE2E1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2F01381E-B88D-4E08-9237-9D1023DDD42B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677479D8-F8B2-4622-93D4-E4F908CB7A1D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5D32DFE3-57C6-4EDB-8EA9-629D3798DE92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AC0DBDAD-FBB4-4354-85E7-B9EDE2D833D6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6C696F7F-EA23-4451-9AE4-6850E1633BB9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2B32A1B9-5A9A-4876-A504-1065212244D5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B5088ABC-D749-471D-BEED-510511BDFABB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CB4F29E1-E6A0-4B7D-9485-58C460A68717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D02505AD-F340-4758-9C31-8252800C8ACF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268BDC70-0CE4-448B-A8C3-6D8573A457E2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FF7F7C39-3606-4E42-943E-9876B5316B84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BEF9CD49-CF53-4A3C-970C-AA0F7C566805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B19A580B-5014-4D7D-9651-78B67F605396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: Form 102">
                <a:extLst>
                  <a:ext uri="{FF2B5EF4-FFF2-40B4-BE49-F238E27FC236}">
                    <a16:creationId xmlns:a16="http://schemas.microsoft.com/office/drawing/2014/main" id="{7DD2587D-C747-451E-AD53-7BB628405946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" name="Freihandform: Form 103">
                <a:extLst>
                  <a:ext uri="{FF2B5EF4-FFF2-40B4-BE49-F238E27FC236}">
                    <a16:creationId xmlns:a16="http://schemas.microsoft.com/office/drawing/2014/main" id="{C048D855-B767-4567-A96F-48B8E88566AA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77326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8268D82-7766-4209-8FA6-FF57873911BC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Berechnung der Stromerzeugung erfolgt für beide Modelle auf Basis der </a:t>
            </a:r>
            <a:r>
              <a:rPr lang="de-DE" dirty="0" err="1"/>
              <a:t>pvlib</a:t>
            </a:r>
            <a:r>
              <a:rPr lang="de-DE" dirty="0"/>
              <a:t>-Implementierung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r>
              <a:rPr lang="de-DE" sz="1400" dirty="0"/>
              <a:t>Die Energiemengen der großtechnischen PV-Anlagen werden der </a:t>
            </a:r>
            <a:r>
              <a:rPr lang="de-DE" sz="1400" b="1" dirty="0"/>
              <a:t>Direktvermarktung</a:t>
            </a:r>
            <a:r>
              <a:rPr lang="de-DE" sz="1400" dirty="0"/>
              <a:t> zugeschriebenen.</a:t>
            </a:r>
          </a:p>
          <a:p>
            <a:endParaRPr lang="de-DE" sz="1400" dirty="0"/>
          </a:p>
          <a:p>
            <a:r>
              <a:rPr lang="de-DE" sz="1400" dirty="0"/>
              <a:t>Die Energiemengen der Kleinanlagen werden </a:t>
            </a:r>
            <a:r>
              <a:rPr lang="de-DE" sz="1400" b="1" dirty="0"/>
              <a:t>vorranging behandelt </a:t>
            </a:r>
            <a:r>
              <a:rPr lang="de-DE" sz="1400" dirty="0"/>
              <a:t>und zu einem möglichst niedrigen Preis angeboten. </a:t>
            </a:r>
            <a:r>
              <a:rPr lang="de-DE" sz="1400" b="1" dirty="0"/>
              <a:t>(EEG-Vermarktung)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5" name="Grafik 34" descr="Solarmodule">
            <a:extLst>
              <a:ext uri="{FF2B5EF4-FFF2-40B4-BE49-F238E27FC236}">
                <a16:creationId xmlns:a16="http://schemas.microsoft.com/office/drawing/2014/main" id="{5A77F3F9-37F3-4188-8817-3AA95A68D280}"/>
              </a:ext>
            </a:extLst>
          </p:cNvPr>
          <p:cNvGrpSpPr/>
          <p:nvPr/>
        </p:nvGrpSpPr>
        <p:grpSpPr>
          <a:xfrm>
            <a:off x="3745999" y="2569419"/>
            <a:ext cx="382706" cy="360041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F0C1CB1-AB65-4F17-8DB5-3F6BC2915AEF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5E8BDE83-D07A-4F7B-8B5F-042674074239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4B282DE-67DE-4479-A6DC-591CEF5A0036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3C919D1-F2DC-4ACE-B952-E5949D72FE00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169ABBF7-84DA-40B0-947B-82C3C1636519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3962C8DC-4B2C-40AC-9215-085EADB52219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FE3B098A-4837-4A50-BAD8-1ADF0A395BE4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6734DB8-A08F-4122-B826-EE67F2AF5E9F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3C617F5-A474-44CC-BEB9-779661A5C135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108A78A-4B6C-4560-88D0-D4BA4BF6A2DF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8595AA1-90F7-49C8-8F71-5091A771D73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CF5B9BC-32AC-47E9-BD8C-EB55B52A24B0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D459E14-9941-49A6-B322-F4188D29AEB6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87AE63E-C7D2-4935-9C92-BE2A00A590C1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180D9CC8-019C-407C-9934-026778B83EED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4C441A0B-2A6A-4AE7-B387-C8F56B7EC5DB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D2AABC1-5361-4B43-B0DA-19DC1C7A7470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AC8FF5F-9015-4307-BB40-B47E2525BF86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326D33A5-473A-4D9A-A0F3-18C7E259FCB1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8119A69D-D876-4BA6-9EAD-20BE8EE0BF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1" t="2695" r="1716" b="843"/>
          <a:stretch/>
        </p:blipFill>
        <p:spPr>
          <a:xfrm>
            <a:off x="7228445" y="4479352"/>
            <a:ext cx="3780000" cy="1500867"/>
          </a:xfrm>
          <a:prstGeom prst="rect">
            <a:avLst/>
          </a:prstGeom>
        </p:spPr>
      </p:pic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4B04196-2316-4E43-9CEA-6F915B156F68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6818AA5-69AD-40AA-B23F-A3430E9270E2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11071DF6-33F2-45EE-99BE-89740CB1145C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359EBA9A-2435-4CA0-BEF1-0FD944F5E23C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 err="1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1726E5A7-67E2-4BB9-A14E-0A32D84378C1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V-Anlagen</a:t>
                </a:r>
                <a:endParaRPr lang="de-DE" sz="1600" kern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Ausrich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igung</a:t>
                </a:r>
              </a:p>
            </p:txBody>
          </p:sp>
          <p:sp>
            <p:nvSpPr>
              <p:cNvPr id="67" name="Pfeil: nach oben 66">
                <a:extLst>
                  <a:ext uri="{FF2B5EF4-FFF2-40B4-BE49-F238E27FC236}">
                    <a16:creationId xmlns:a16="http://schemas.microsoft.com/office/drawing/2014/main" id="{CE900EF9-90E7-4F2E-BFEB-EC5C3AC1A38B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8" name="Pfeil: nach oben 67">
                <a:extLst>
                  <a:ext uri="{FF2B5EF4-FFF2-40B4-BE49-F238E27FC236}">
                    <a16:creationId xmlns:a16="http://schemas.microsoft.com/office/drawing/2014/main" id="{BA010B78-A5AA-44D9-B3D0-EACDEF2B75EF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44" name="Grafik 34" descr="Solarmodule">
              <a:extLst>
                <a:ext uri="{FF2B5EF4-FFF2-40B4-BE49-F238E27FC236}">
                  <a16:creationId xmlns:a16="http://schemas.microsoft.com/office/drawing/2014/main" id="{CEF66EE1-7E00-475C-BE78-04165934CD9C}"/>
                </a:ext>
              </a:extLst>
            </p:cNvPr>
            <p:cNvGrpSpPr/>
            <p:nvPr/>
          </p:nvGrpSpPr>
          <p:grpSpPr>
            <a:xfrm>
              <a:off x="3745999" y="2569419"/>
              <a:ext cx="382706" cy="360041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A52889A3-27D5-4EFB-9EB1-E4C861D95EBD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70E7D67F-7F41-4737-B20F-07BC27331D75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5B823C4-303C-4C36-BC24-31A0CFCE77D0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F0BCF162-D72A-4C63-A062-3871E109ECFA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B910065A-496A-4787-B6E9-E54AA8867C05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50B3B73D-2C09-49B4-B99E-063E22465528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0AF4CD04-61EF-4A9B-A565-DAB9FA1C40DB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6CA8191E-9062-4665-95F1-C98F9C4804B7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1B44C47E-E177-4EB4-ADE3-52F40C772DBF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AF19FC9E-345B-412B-A73F-55B499B9C567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244F187-6248-482E-B916-913376D6EAF3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5CA0ECAE-C46A-42FF-9801-2C1565AF6C04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1E58E9F4-FB77-4659-892B-3094A2422FBA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DEC9D6D3-8D8C-4EB4-B4B9-A2A0D6EBF0D2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AC42D3-F4CF-4BFA-AE2C-913DAED006B7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9ACFEAD6-14FD-4E38-AF95-D5A0615B40DC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77F5B3C4-45DE-4B2B-96C4-62E48B536AE9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C8D0AA29-E4D0-471F-95CA-816855C007C0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ADD46CC2-1611-4601-8CD3-F20F2F27B105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72086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8AF2576B-F179-43BD-B610-E0DD365C833F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2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Berechnung der Einspeisung der Biomasse Anlagen erfolgt anhand der Nennleistung.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sz="1400" b="1" dirty="0"/>
                  <a:t>Optimaler Dispatch</a:t>
                </a:r>
              </a:p>
              <a:p>
                <a:r>
                  <a:rPr lang="de-DE" sz="1400" dirty="0"/>
                  <a:t>Die Erzeugung der Biomasseanlagen wird zufällig aus einer Gleichverteilung gezogen.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[0.9∙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1.0∙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endParaRPr lang="de-DE" sz="1400" dirty="0"/>
              </a:p>
              <a:p>
                <a:pPr marL="0" indent="0">
                  <a:buNone/>
                </a:pPr>
                <a:endParaRPr lang="de-DE" sz="1400" dirty="0"/>
              </a:p>
              <a:p>
                <a:r>
                  <a:rPr lang="de-DE" sz="1400" dirty="0"/>
                  <a:t>Um hohe Volllaststunden zu erreichen fließt die Gesamterzeugung in die </a:t>
                </a:r>
                <a:r>
                  <a:rPr lang="de-DE" sz="1400" b="1" dirty="0"/>
                  <a:t>EEG-Vermarktung</a:t>
                </a:r>
                <a:r>
                  <a:rPr lang="de-DE" sz="1400" dirty="0"/>
                  <a:t>.</a:t>
                </a:r>
              </a:p>
              <a:p>
                <a:pPr marL="0" indent="0">
                  <a:buNone/>
                </a:pPr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  <a:p>
                <a:endParaRPr lang="de-DE" sz="1400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6822492" y="1963316"/>
                <a:ext cx="4591907" cy="4012037"/>
              </a:xfrm>
              <a:blipFill>
                <a:blip r:embed="rId3"/>
                <a:stretch>
                  <a:fillRect l="-398" t="-3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" name="Grafik 34" descr="Solarmodule">
            <a:extLst>
              <a:ext uri="{FF2B5EF4-FFF2-40B4-BE49-F238E27FC236}">
                <a16:creationId xmlns:a16="http://schemas.microsoft.com/office/drawing/2014/main" id="{5A77F3F9-37F3-4188-8817-3AA95A68D280}"/>
              </a:ext>
            </a:extLst>
          </p:cNvPr>
          <p:cNvGrpSpPr/>
          <p:nvPr/>
        </p:nvGrpSpPr>
        <p:grpSpPr>
          <a:xfrm>
            <a:off x="3745999" y="2569419"/>
            <a:ext cx="382706" cy="360041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F0C1CB1-AB65-4F17-8DB5-3F6BC2915AEF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5E8BDE83-D07A-4F7B-8B5F-042674074239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4B282DE-67DE-4479-A6DC-591CEF5A0036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3C919D1-F2DC-4ACE-B952-E5949D72FE00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169ABBF7-84DA-40B0-947B-82C3C1636519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3962C8DC-4B2C-40AC-9215-085EADB52219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FE3B098A-4837-4A50-BAD8-1ADF0A395BE4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6734DB8-A08F-4122-B826-EE67F2AF5E9F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3C617F5-A474-44CC-BEB9-779661A5C135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108A78A-4B6C-4560-88D0-D4BA4BF6A2DF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8595AA1-90F7-49C8-8F71-5091A771D73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CF5B9BC-32AC-47E9-BD8C-EB55B52A24B0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D459E14-9941-49A6-B322-F4188D29AEB6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87AE63E-C7D2-4935-9C92-BE2A00A590C1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180D9CC8-019C-407C-9934-026778B83EED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4C441A0B-2A6A-4AE7-B387-C8F56B7EC5DB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D2AABC1-5361-4B43-B0DA-19DC1C7A7470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AC8FF5F-9015-4307-BB40-B47E2525BF86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326D33A5-473A-4D9A-A0F3-18C7E259FCB1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21F6AFC-F089-47E8-9980-83AFE448A6EF}"/>
              </a:ext>
            </a:extLst>
          </p:cNvPr>
          <p:cNvGrpSpPr/>
          <p:nvPr/>
        </p:nvGrpSpPr>
        <p:grpSpPr>
          <a:xfrm>
            <a:off x="526614" y="2489560"/>
            <a:ext cx="6430765" cy="2961916"/>
            <a:chOff x="526614" y="2489560"/>
            <a:chExt cx="6430765" cy="2961916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6818AA5-69AD-40AA-B23F-A3430E9270E2}"/>
                </a:ext>
              </a:extLst>
            </p:cNvPr>
            <p:cNvGrpSpPr/>
            <p:nvPr/>
          </p:nvGrpSpPr>
          <p:grpSpPr>
            <a:xfrm>
              <a:off x="526614" y="2489560"/>
              <a:ext cx="6430765" cy="2961916"/>
              <a:chOff x="2680442" y="2303880"/>
              <a:chExt cx="6430765" cy="2961916"/>
            </a:xfrm>
          </p:grpSpPr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11071DF6-33F2-45EE-99BE-89740CB1145C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147732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romnachfrage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isinformation</a:t>
                </a:r>
              </a:p>
            </p:txBody>
          </p:sp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359EBA9A-2435-4CA0-BEF1-0FD944F5E23C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 err="1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</a:t>
                </a:r>
                <a:r>
                  <a:rPr lang="de-DE" sz="1400" b="1" kern="0" dirty="0" err="1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Dispatch</a:t>
                </a:r>
                <a:endPara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1726E5A7-67E2-4BB9-A14E-0A32D84378C1}"/>
                  </a:ext>
                </a:extLst>
              </p:cNvPr>
              <p:cNvSpPr/>
              <p:nvPr/>
            </p:nvSpPr>
            <p:spPr>
              <a:xfrm rot="16200000">
                <a:off x="3039400" y="1952345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Biomasseanlagen 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 aus dem Marktstammdatenregister</a:t>
                </a:r>
              </a:p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67" name="Pfeil: nach oben 66">
                <a:extLst>
                  <a:ext uri="{FF2B5EF4-FFF2-40B4-BE49-F238E27FC236}">
                    <a16:creationId xmlns:a16="http://schemas.microsoft.com/office/drawing/2014/main" id="{CE900EF9-90E7-4F2E-BFEB-EC5C3AC1A38B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8" name="Pfeil: nach oben 67">
                <a:extLst>
                  <a:ext uri="{FF2B5EF4-FFF2-40B4-BE49-F238E27FC236}">
                    <a16:creationId xmlns:a16="http://schemas.microsoft.com/office/drawing/2014/main" id="{BA010B78-A5AA-44D9-B3D0-EACDEF2B75EF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3" name="Picture 2" descr="Biogasvertrieb Nord GmbH &amp; Co.KG - Home">
              <a:extLst>
                <a:ext uri="{FF2B5EF4-FFF2-40B4-BE49-F238E27FC236}">
                  <a16:creationId xmlns:a16="http://schemas.microsoft.com/office/drawing/2014/main" id="{84899132-A3AD-4613-A386-9B6D9F27A5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6616" y="2503254"/>
              <a:ext cx="451695" cy="451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81BC86FB-06A8-45A0-A99A-52C21C305C9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74" t="2327" r="1635" b="2794"/>
          <a:stretch/>
        </p:blipFill>
        <p:spPr>
          <a:xfrm>
            <a:off x="7200914" y="4149326"/>
            <a:ext cx="3780000" cy="148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4276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204F449-7C4E-4BFB-BC2A-0A5B191E35D6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3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Um die Erzeugung der Laufwasserkraftwerke abzubilden wurde ein einfaches SARIMAX Modell entwickel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r>
              <a:rPr lang="de-DE" sz="1400" dirty="0"/>
              <a:t>Das SARIMAX-Modell berechnet Werte für die kommenden  24 Stunden und nutzt hierfür Initialwerte aus dem Jahr 2019.</a:t>
            </a:r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/>
              <a:t>Um hohe Volllaststunden zu erreichen fließt die Gesamterzeugung in die </a:t>
            </a:r>
            <a:r>
              <a:rPr lang="de-DE" sz="1400" b="1" dirty="0"/>
              <a:t>EEG-Vermarktung</a:t>
            </a:r>
            <a:r>
              <a:rPr lang="de-DE" sz="1400" dirty="0"/>
              <a:t>.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15" name="Grafik 34" descr="Solarmodule">
            <a:extLst>
              <a:ext uri="{FF2B5EF4-FFF2-40B4-BE49-F238E27FC236}">
                <a16:creationId xmlns:a16="http://schemas.microsoft.com/office/drawing/2014/main" id="{5A77F3F9-37F3-4188-8817-3AA95A68D280}"/>
              </a:ext>
            </a:extLst>
          </p:cNvPr>
          <p:cNvGrpSpPr/>
          <p:nvPr/>
        </p:nvGrpSpPr>
        <p:grpSpPr>
          <a:xfrm>
            <a:off x="3745999" y="2569419"/>
            <a:ext cx="382706" cy="360041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F0C1CB1-AB65-4F17-8DB5-3F6BC2915AEF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5E8BDE83-D07A-4F7B-8B5F-042674074239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4B282DE-67DE-4479-A6DC-591CEF5A0036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3C919D1-F2DC-4ACE-B952-E5949D72FE00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169ABBF7-84DA-40B0-947B-82C3C1636519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3962C8DC-4B2C-40AC-9215-085EADB52219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FE3B098A-4837-4A50-BAD8-1ADF0A395BE4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6734DB8-A08F-4122-B826-EE67F2AF5E9F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3C617F5-A474-44CC-BEB9-779661A5C135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108A78A-4B6C-4560-88D0-D4BA4BF6A2DF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8595AA1-90F7-49C8-8F71-5091A771D73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CF5B9BC-32AC-47E9-BD8C-EB55B52A24B0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D459E14-9941-49A6-B322-F4188D29AEB6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87AE63E-C7D2-4935-9C92-BE2A00A590C1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180D9CC8-019C-407C-9934-026778B83EED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4C441A0B-2A6A-4AE7-B387-C8F56B7EC5DB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9D2AABC1-5361-4B43-B0DA-19DC1C7A7470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AC8FF5F-9015-4307-BB40-B47E2525BF86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326D33A5-473A-4D9A-A0F3-18C7E259FCB1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86818AA5-69AD-40AA-B23F-A3430E9270E2}"/>
              </a:ext>
            </a:extLst>
          </p:cNvPr>
          <p:cNvGrpSpPr/>
          <p:nvPr/>
        </p:nvGrpSpPr>
        <p:grpSpPr>
          <a:xfrm>
            <a:off x="526614" y="2489560"/>
            <a:ext cx="6430765" cy="2961916"/>
            <a:chOff x="2680442" y="2303880"/>
            <a:chExt cx="6430765" cy="2961916"/>
          </a:xfrm>
        </p:grpSpPr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11071DF6-33F2-45EE-99BE-89740CB1145C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1477328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romnachfrage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isinformation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359EBA9A-2435-4CA0-BEF1-0FD944F5E23C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1726E5A7-67E2-4BB9-A14E-0A32D84378C1}"/>
                </a:ext>
              </a:extLst>
            </p:cNvPr>
            <p:cNvSpPr/>
            <p:nvPr/>
          </p:nvSpPr>
          <p:spPr>
            <a:xfrm rot="16200000">
              <a:off x="3039400" y="1952345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Laufwasserkraftwerke 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 aus dem Marktstammdatenregister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Pfeil: nach oben 66">
              <a:extLst>
                <a:ext uri="{FF2B5EF4-FFF2-40B4-BE49-F238E27FC236}">
                  <a16:creationId xmlns:a16="http://schemas.microsoft.com/office/drawing/2014/main" id="{CE900EF9-90E7-4F2E-BFEB-EC5C3AC1A38B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8" name="Pfeil: nach oben 67">
              <a:extLst>
                <a:ext uri="{FF2B5EF4-FFF2-40B4-BE49-F238E27FC236}">
                  <a16:creationId xmlns:a16="http://schemas.microsoft.com/office/drawing/2014/main" id="{BA010B78-A5AA-44D9-B3D0-EACDEF2B75EF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8" name="Grafik 7" descr="Wassermann">
            <a:extLst>
              <a:ext uri="{FF2B5EF4-FFF2-40B4-BE49-F238E27FC236}">
                <a16:creationId xmlns:a16="http://schemas.microsoft.com/office/drawing/2014/main" id="{893A7934-A839-4113-B413-1CD1D19ED4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81469" y="2489560"/>
            <a:ext cx="511765" cy="51176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833495E-CD20-4B03-8BAF-E79F312F026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44" t="4958" r="572" b="843"/>
          <a:stretch/>
        </p:blipFill>
        <p:spPr>
          <a:xfrm>
            <a:off x="7153714" y="4165785"/>
            <a:ext cx="3780000" cy="1465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8926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0D9B6CB8-ECB3-48C2-A535-0BF8A681ED13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4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Aus den optimalen Fahrplänen des Portfolios wird anschließend ein Orderbuch zur Vermarktung am </a:t>
            </a:r>
            <a:r>
              <a:rPr lang="de-DE" dirty="0" err="1"/>
              <a:t>DayAhead</a:t>
            </a:r>
            <a:r>
              <a:rPr lang="de-DE" dirty="0"/>
              <a:t> Markt erstellt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RES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 err="1"/>
                <a:t>DayAhead</a:t>
              </a:r>
              <a:r>
                <a:rPr lang="de-DE" sz="1400" b="1" dirty="0"/>
                <a:t> Markt</a:t>
              </a:r>
            </a:p>
          </p:txBody>
        </p:sp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Ökon. Kenngrößen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32328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. &amp; ökon.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31837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uschläg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e Stunde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5446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erbuch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851441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pic>
        <p:nvPicPr>
          <p:cNvPr id="3" name="Grafik 2" descr="Windkraftanlagen">
            <a:extLst>
              <a:ext uri="{FF2B5EF4-FFF2-40B4-BE49-F238E27FC236}">
                <a16:creationId xmlns:a16="http://schemas.microsoft.com/office/drawing/2014/main" id="{56324FC3-CB56-435B-9A44-D17D826448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22639" y="2876592"/>
            <a:ext cx="649022" cy="649022"/>
          </a:xfrm>
          <a:prstGeom prst="rect">
            <a:avLst/>
          </a:prstGeom>
        </p:spPr>
      </p:pic>
      <p:grpSp>
        <p:nvGrpSpPr>
          <p:cNvPr id="34" name="Grafik 34" descr="Solarmodule">
            <a:extLst>
              <a:ext uri="{FF2B5EF4-FFF2-40B4-BE49-F238E27FC236}">
                <a16:creationId xmlns:a16="http://schemas.microsoft.com/office/drawing/2014/main" id="{A4BBD2B9-123E-4A85-A90A-9F301B4C65C6}"/>
              </a:ext>
            </a:extLst>
          </p:cNvPr>
          <p:cNvGrpSpPr/>
          <p:nvPr/>
        </p:nvGrpSpPr>
        <p:grpSpPr>
          <a:xfrm>
            <a:off x="1697918" y="3918123"/>
            <a:ext cx="643799" cy="643799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B9FD41F1-305A-4046-81B2-E716581333D8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895EF659-D70B-4AE6-9DED-D88731487D94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CCBF749-3D70-4BFF-A029-8B2D71A2D23F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1ECBBACC-24FB-4FC0-BDE7-6AB33D1E8B3C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87D1E2A-09D9-4998-B58C-39C742D3A05C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FA8530E3-D91E-482F-B158-208482544815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978378CC-A237-49DD-A2F9-2E6C29724B2F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91011B4-535F-4174-BF20-AA5C804670B8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24A604-6D87-407E-934A-AAFF4A346F53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3ABD0DC5-7C60-4304-9DB7-85B67B3CE731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8A8E9B1F-3D4F-461E-87B2-DB7F9281F34D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6B96981-FFE5-4793-BA9B-3E3915834DFB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25B1E17B-AFE7-4D9C-A433-3A8F03530CC7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FE6D0EB9-5D0F-4BEF-848E-ADA0C207290D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F3453605-70D4-4FD4-A300-DDDEFA94D64F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91C3EA6-F931-451D-AA79-D0CFD414F2C9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2E9A213-D96D-4BB6-9AFC-00E56AF1F00F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04C6B233-1B34-4C49-A851-2124CF5C5C3E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DB8FD3F4-5FAD-42DF-ACC1-225D716A235A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8" name="Grafik 7" descr="Windkraftanlagen">
            <a:extLst>
              <a:ext uri="{FF2B5EF4-FFF2-40B4-BE49-F238E27FC236}">
                <a16:creationId xmlns:a16="http://schemas.microsoft.com/office/drawing/2014/main" id="{5FED0491-A288-4BEA-8C9A-4E5C6ED89F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02980" y="4458119"/>
            <a:ext cx="649022" cy="649022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4201EBA-10A1-43F3-8E3F-90D960B9F44D}"/>
              </a:ext>
            </a:extLst>
          </p:cNvPr>
          <p:cNvSpPr/>
          <p:nvPr/>
        </p:nvSpPr>
        <p:spPr>
          <a:xfrm>
            <a:off x="1747749" y="4915794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0" name="Grafik 34" descr="Solarmodule">
            <a:extLst>
              <a:ext uri="{FF2B5EF4-FFF2-40B4-BE49-F238E27FC236}">
                <a16:creationId xmlns:a16="http://schemas.microsoft.com/office/drawing/2014/main" id="{912E5A59-4C45-4097-B862-43670DADD50B}"/>
              </a:ext>
            </a:extLst>
          </p:cNvPr>
          <p:cNvGrpSpPr/>
          <p:nvPr/>
        </p:nvGrpSpPr>
        <p:grpSpPr>
          <a:xfrm>
            <a:off x="2157096" y="4853537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8326FB13-9962-4DFF-B365-1408502F4783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EC6E9B7C-CE28-47C9-AFA2-83261E36879D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4CB1F17C-E747-4F36-80F5-8CA1FEB60BD5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660A4B94-7AEF-46B0-A993-C1B24CC0C0B1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7B0C58F2-2FD8-4E7C-A1C3-E7DDBBC160B6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011C14B-3476-4E66-B8E9-8C9E9189ADA0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4CDDC6F-2E1E-4782-8D22-4FB33ED62C21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EB04BC9-DD5C-40B1-B18E-0DA67A82218E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89A01095-3A49-4BCB-868A-8CDE571F98D3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BB11BC01-0629-4851-BE35-B30E3F447A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7B011D5E-8713-49EC-9B8C-709E7E09BE4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E54167DD-D8F6-48F7-BF60-CD7CB2CA2803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FFCD7CA4-FD82-40BD-8F8D-117E5CE237EE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3598EB04-2DD0-4B2C-81B8-14811DCD08AF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C7BB7BF-B5B5-46CF-84C6-3DE1A1515DF2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E6559961-126F-400E-851B-EA37D7A28CCC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5929441-958C-49E8-9C9A-D1F1A122594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E60F2666-ED64-4C44-96F9-629EAD169635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EF42142C-90D1-4718-B795-A2C8591229D9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3" name="Grafik 12" descr="Windkraftanlagen">
            <a:extLst>
              <a:ext uri="{FF2B5EF4-FFF2-40B4-BE49-F238E27FC236}">
                <a16:creationId xmlns:a16="http://schemas.microsoft.com/office/drawing/2014/main" id="{01CDAF30-DA12-4BEA-919F-FED3ABA4AC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58865" y="2935160"/>
            <a:ext cx="649022" cy="649022"/>
          </a:xfrm>
          <a:prstGeom prst="rect">
            <a:avLst/>
          </a:prstGeom>
        </p:spPr>
      </p:pic>
      <p:pic>
        <p:nvPicPr>
          <p:cNvPr id="14" name="Picture 2" descr="Biogasvertrieb Nord GmbH &amp; Co.KG - Home">
            <a:extLst>
              <a:ext uri="{FF2B5EF4-FFF2-40B4-BE49-F238E27FC236}">
                <a16:creationId xmlns:a16="http://schemas.microsoft.com/office/drawing/2014/main" id="{49C1306D-75B9-4E7B-B7D9-C72419040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866" y="2251733"/>
            <a:ext cx="836254" cy="836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 descr="Wassermann">
            <a:extLst>
              <a:ext uri="{FF2B5EF4-FFF2-40B4-BE49-F238E27FC236}">
                <a16:creationId xmlns:a16="http://schemas.microsoft.com/office/drawing/2014/main" id="{50A55845-C33E-4388-97D8-AECC105F0C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27545" y="3649508"/>
            <a:ext cx="759466" cy="759466"/>
          </a:xfrm>
          <a:prstGeom prst="rect">
            <a:avLst/>
          </a:prstGeom>
        </p:spPr>
      </p:pic>
      <p:sp>
        <p:nvSpPr>
          <p:cNvPr id="9" name="Pfeil: 180-Grad 8">
            <a:extLst>
              <a:ext uri="{FF2B5EF4-FFF2-40B4-BE49-F238E27FC236}">
                <a16:creationId xmlns:a16="http://schemas.microsoft.com/office/drawing/2014/main" id="{F2367502-97A6-46D5-985C-C7CBA4E8E654}"/>
              </a:ext>
            </a:extLst>
          </p:cNvPr>
          <p:cNvSpPr/>
          <p:nvPr/>
        </p:nvSpPr>
        <p:spPr>
          <a:xfrm rot="16200000">
            <a:off x="3899178" y="3438713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6" name="Pfeil: 180-Grad 15">
            <a:extLst>
              <a:ext uri="{FF2B5EF4-FFF2-40B4-BE49-F238E27FC236}">
                <a16:creationId xmlns:a16="http://schemas.microsoft.com/office/drawing/2014/main" id="{54C63905-5624-4FF6-8EB6-7AE49D9A4535}"/>
              </a:ext>
            </a:extLst>
          </p:cNvPr>
          <p:cNvSpPr/>
          <p:nvPr/>
        </p:nvSpPr>
        <p:spPr>
          <a:xfrm rot="5400000">
            <a:off x="7427570" y="3500156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18" name="Grafik 17" descr="Angebot und Nachfrage">
            <a:extLst>
              <a:ext uri="{FF2B5EF4-FFF2-40B4-BE49-F238E27FC236}">
                <a16:creationId xmlns:a16="http://schemas.microsoft.com/office/drawing/2014/main" id="{C20510F0-EE26-4EFA-A29E-22BE380C44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30524" y="3234811"/>
            <a:ext cx="1289743" cy="1289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3767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hteck 51">
            <a:extLst>
              <a:ext uri="{FF2B5EF4-FFF2-40B4-BE49-F238E27FC236}">
                <a16:creationId xmlns:a16="http://schemas.microsoft.com/office/drawing/2014/main" id="{B7C09A4D-300C-4EED-8B31-61B3FE486CE2}"/>
              </a:ext>
            </a:extLst>
          </p:cNvPr>
          <p:cNvSpPr/>
          <p:nvPr/>
        </p:nvSpPr>
        <p:spPr>
          <a:xfrm>
            <a:off x="527037" y="5316716"/>
            <a:ext cx="3458049" cy="7625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Direktvermarktung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23C9BF1-4DEC-4196-B8C5-2EDEBD23304C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F0BE27-7530-4619-B5E9-5BE45E2382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AC96BF46-7C26-4BEA-9579-EA7B8334761B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B6DEDB-2B25-4339-8A6B-FFAF93FE60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D3CFB3-70E6-4FD4-AA0F-8769C666FC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5</a:t>
            </a:fld>
            <a:endParaRPr lang="de-DE" alt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8F54220-DC4B-48C2-A629-36A0F28366C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Aufgabe der Agenten ist es aus dem Fahrplan (i.d.R. ein Punkt) eine Angebotskurve zu erstellen.</a:t>
            </a: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C1526818-AB38-4BB2-B368-F9CF4E0B8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754942"/>
              </p:ext>
            </p:extLst>
          </p:nvPr>
        </p:nvGraphicFramePr>
        <p:xfrm>
          <a:off x="528000" y="2475363"/>
          <a:ext cx="3458050" cy="2782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4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55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7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latin typeface="+mj-lt"/>
                        </a:rPr>
                        <a:t>Volumina</a:t>
                      </a:r>
                      <a:r>
                        <a:rPr lang="en-US" sz="1000" b="1" dirty="0">
                          <a:latin typeface="+mj-lt"/>
                        </a:rPr>
                        <a:t> MWh</a:t>
                      </a:r>
                    </a:p>
                  </a:txBody>
                  <a:tcPr marL="91452" marR="91452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4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25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45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+mj-lt"/>
                        </a:rPr>
                        <a:t>…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45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4" name="Rechteck 53">
            <a:extLst>
              <a:ext uri="{FF2B5EF4-FFF2-40B4-BE49-F238E27FC236}">
                <a16:creationId xmlns:a16="http://schemas.microsoft.com/office/drawing/2014/main" id="{05A290DE-4441-4A2A-881F-BEC5E02CA397}"/>
              </a:ext>
            </a:extLst>
          </p:cNvPr>
          <p:cNvSpPr/>
          <p:nvPr/>
        </p:nvSpPr>
        <p:spPr>
          <a:xfrm>
            <a:off x="1372580" y="2769249"/>
            <a:ext cx="720080" cy="10081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D8EDFC8-F251-421E-9CF9-FDEF62768827}"/>
              </a:ext>
            </a:extLst>
          </p:cNvPr>
          <p:cNvCxnSpPr/>
          <p:nvPr/>
        </p:nvCxnSpPr>
        <p:spPr>
          <a:xfrm>
            <a:off x="5286493" y="1990430"/>
            <a:ext cx="0" cy="3600400"/>
          </a:xfrm>
          <a:prstGeom prst="line">
            <a:avLst/>
          </a:prstGeom>
          <a:ln w="38100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2D9D366-89DB-4164-A559-550024AF2422}"/>
              </a:ext>
            </a:extLst>
          </p:cNvPr>
          <p:cNvCxnSpPr>
            <a:cxnSpLocks/>
          </p:cNvCxnSpPr>
          <p:nvPr/>
        </p:nvCxnSpPr>
        <p:spPr>
          <a:xfrm rot="16200000">
            <a:off x="6942677" y="3700379"/>
            <a:ext cx="0" cy="360040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244600B2-3CCF-44F1-AA65-4FEA322F06CB}"/>
              </a:ext>
            </a:extLst>
          </p:cNvPr>
          <p:cNvSpPr txBox="1"/>
          <p:nvPr/>
        </p:nvSpPr>
        <p:spPr>
          <a:xfrm>
            <a:off x="7954956" y="5556861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e [MWh]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F121872-1206-46A9-9C40-817938D7B122}"/>
              </a:ext>
            </a:extLst>
          </p:cNvPr>
          <p:cNvSpPr txBox="1"/>
          <p:nvPr/>
        </p:nvSpPr>
        <p:spPr>
          <a:xfrm rot="16200000">
            <a:off x="4464694" y="2468019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is [€/MWh]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D33659D8-0242-48BE-9731-3AF5606C873E}"/>
              </a:ext>
            </a:extLst>
          </p:cNvPr>
          <p:cNvSpPr/>
          <p:nvPr/>
        </p:nvSpPr>
        <p:spPr>
          <a:xfrm>
            <a:off x="7918956" y="2400391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5569EFFF-09F6-497A-BA58-C2221E87BB19}"/>
              </a:ext>
            </a:extLst>
          </p:cNvPr>
          <p:cNvSpPr txBox="1"/>
          <p:nvPr/>
        </p:nvSpPr>
        <p:spPr>
          <a:xfrm>
            <a:off x="8015219" y="2305586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340; 30)</a:t>
            </a:r>
          </a:p>
        </p:txBody>
      </p: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BE35CA2A-9069-4193-A216-61CC4C3C5D91}"/>
              </a:ext>
            </a:extLst>
          </p:cNvPr>
          <p:cNvCxnSpPr>
            <a:cxnSpLocks/>
            <a:endCxn id="61" idx="3"/>
          </p:cNvCxnSpPr>
          <p:nvPr/>
        </p:nvCxnSpPr>
        <p:spPr>
          <a:xfrm flipV="1">
            <a:off x="7929500" y="2461847"/>
            <a:ext cx="0" cy="3047449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511F0348-FBCB-4A69-AAE5-8B43FD0269A5}"/>
              </a:ext>
            </a:extLst>
          </p:cNvPr>
          <p:cNvCxnSpPr>
            <a:cxnSpLocks/>
          </p:cNvCxnSpPr>
          <p:nvPr/>
        </p:nvCxnSpPr>
        <p:spPr>
          <a:xfrm flipV="1">
            <a:off x="5275949" y="2448546"/>
            <a:ext cx="2643007" cy="10544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3" name="Tabelle 102">
            <a:extLst>
              <a:ext uri="{FF2B5EF4-FFF2-40B4-BE49-F238E27FC236}">
                <a16:creationId xmlns:a16="http://schemas.microsoft.com/office/drawing/2014/main" id="{F0AF9D87-E60E-4D3C-BC99-F6DC2EEFD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250301"/>
              </p:ext>
            </p:extLst>
          </p:nvPr>
        </p:nvGraphicFramePr>
        <p:xfrm>
          <a:off x="7296920" y="3684052"/>
          <a:ext cx="3458050" cy="13007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5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1,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30</a:t>
                      </a: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MWh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 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opt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5E50F309-751C-4328-ACA6-D5BF2E6817E8}"/>
              </a:ext>
            </a:extLst>
          </p:cNvPr>
          <p:cNvCxnSpPr/>
          <p:nvPr/>
        </p:nvCxnSpPr>
        <p:spPr>
          <a:xfrm>
            <a:off x="2419384" y="3518518"/>
            <a:ext cx="2723093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63ED23C8-25D7-44EF-BA92-A1FCBA76042A}"/>
              </a:ext>
            </a:extLst>
          </p:cNvPr>
          <p:cNvCxnSpPr>
            <a:cxnSpLocks/>
          </p:cNvCxnSpPr>
          <p:nvPr/>
        </p:nvCxnSpPr>
        <p:spPr>
          <a:xfrm>
            <a:off x="6312024" y="4365104"/>
            <a:ext cx="984896" cy="432048"/>
          </a:xfrm>
          <a:prstGeom prst="bentConnector3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Textfeld 110">
            <a:extLst>
              <a:ext uri="{FF2B5EF4-FFF2-40B4-BE49-F238E27FC236}">
                <a16:creationId xmlns:a16="http://schemas.microsoft.com/office/drawing/2014/main" id="{7F377EF2-DD47-408D-B780-B16F8CB3107D}"/>
              </a:ext>
            </a:extLst>
          </p:cNvPr>
          <p:cNvSpPr txBox="1"/>
          <p:nvPr/>
        </p:nvSpPr>
        <p:spPr>
          <a:xfrm>
            <a:off x="5366970" y="5247686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0; 0)</a:t>
            </a:r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3C3B0088-0192-49E6-9C86-DF79BABB52E2}"/>
              </a:ext>
            </a:extLst>
          </p:cNvPr>
          <p:cNvCxnSpPr>
            <a:cxnSpLocks/>
            <a:stCxn id="122" idx="7"/>
            <a:endCxn id="61" idx="3"/>
          </p:cNvCxnSpPr>
          <p:nvPr/>
        </p:nvCxnSpPr>
        <p:spPr>
          <a:xfrm flipV="1">
            <a:off x="5308079" y="2461847"/>
            <a:ext cx="2621421" cy="3011679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2" name="Ellipse 121">
            <a:extLst>
              <a:ext uri="{FF2B5EF4-FFF2-40B4-BE49-F238E27FC236}">
                <a16:creationId xmlns:a16="http://schemas.microsoft.com/office/drawing/2014/main" id="{A7F5682C-98C9-423B-98B4-E658E043C74C}"/>
              </a:ext>
            </a:extLst>
          </p:cNvPr>
          <p:cNvSpPr/>
          <p:nvPr/>
        </p:nvSpPr>
        <p:spPr>
          <a:xfrm>
            <a:off x="5246623" y="5462982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Grafik 27" descr="Windkraftanlagen">
            <a:extLst>
              <a:ext uri="{FF2B5EF4-FFF2-40B4-BE49-F238E27FC236}">
                <a16:creationId xmlns:a16="http://schemas.microsoft.com/office/drawing/2014/main" id="{8A6EE3CF-D3C4-49A9-858F-13E18F01AA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6745" y="5629370"/>
            <a:ext cx="378201" cy="378201"/>
          </a:xfrm>
          <a:prstGeom prst="rect">
            <a:avLst/>
          </a:prstGeom>
        </p:spPr>
      </p:pic>
      <p:grpSp>
        <p:nvGrpSpPr>
          <p:cNvPr id="29" name="Grafik 34" descr="Solarmodule">
            <a:extLst>
              <a:ext uri="{FF2B5EF4-FFF2-40B4-BE49-F238E27FC236}">
                <a16:creationId xmlns:a16="http://schemas.microsoft.com/office/drawing/2014/main" id="{46D314DA-5B09-4494-B2F3-3CC366EF627E}"/>
              </a:ext>
            </a:extLst>
          </p:cNvPr>
          <p:cNvGrpSpPr/>
          <p:nvPr/>
        </p:nvGrpSpPr>
        <p:grpSpPr>
          <a:xfrm>
            <a:off x="1289625" y="5590830"/>
            <a:ext cx="375157" cy="375157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33891F26-10DA-43BE-A8E0-E9963A6D528C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760B23F7-5033-4270-A57E-8B43ED2139F7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829DC0E-3EF7-4DA3-9C0E-5009C1B5759F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BC520F9A-2F2C-4BFA-8923-A71EB2D59244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9617463C-D4DD-4A18-983E-AE572C4E6416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ABF3DAF-F40A-460A-A33E-1E97D4533DD2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16BDBE67-6D1C-496E-81D5-32BED1708C79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E4987C4A-AB50-4BC7-BAE0-92AD7A4EEFC4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0CBCFAC4-14B3-400F-802A-69566F47260F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7868681B-A3F3-4B34-904E-537173FA8A65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7FA42D5-382A-4FD7-8EF6-F2CF1501B861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C13A5FE-A59B-4F26-85A1-02F94D0AECE3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207DB8A-23C5-442B-8D75-A7482775AA2A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4BEFF84B-AEE1-43D0-BF6C-79CEF3E787A5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8608674-C345-4FB8-B0DA-02F580F0BD2B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C7B3184D-8975-4B13-8DC2-9B631129F309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A5681278-886F-421E-B66A-D57CAC67E0FF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AA1F5FE-10DF-4ABD-B8C4-AA3215B1FF2D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E6816D47-BD4D-4C80-AEF8-09355AD685C7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" name="Grafik 34" descr="Solarmodule">
            <a:extLst>
              <a:ext uri="{FF2B5EF4-FFF2-40B4-BE49-F238E27FC236}">
                <a16:creationId xmlns:a16="http://schemas.microsoft.com/office/drawing/2014/main" id="{14BABD8D-3532-488A-AFF3-D39A3155FE9C}"/>
              </a:ext>
            </a:extLst>
          </p:cNvPr>
          <p:cNvGrpSpPr/>
          <p:nvPr/>
        </p:nvGrpSpPr>
        <p:grpSpPr>
          <a:xfrm>
            <a:off x="2897520" y="5370090"/>
            <a:ext cx="375157" cy="375157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1E372CB6-FADE-4B1A-8D17-B7311CC4CF46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091D9F13-0D66-4D8C-9421-564DD7DF785F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B84166D-443C-4214-8216-D6438E78ED04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0EC3DAC-B180-492F-A411-3B0888A11C2C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A2B6CFE1-BE6F-4573-A9EB-669D359E0A23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8D2F0A44-F8E1-4D0C-8C41-EED848AF3FFF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C81D6486-CB60-4D39-A4ED-620DF6D2CC68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35F49E4-9E01-49EC-8F37-1D07FA61675E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E04EEAAA-71CB-4317-8074-41C3315263CC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C5135342-D7E8-4F47-8D68-DF07378FEEA8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E2F8C3CC-AEE0-4C9F-B42E-D85CEFFB7405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A76F16C-E8D4-46CA-9C2B-9C64F07BF59B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8FFA20BF-B965-4515-8388-311E32976653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21118EA3-77C5-4356-B985-CE66D158ED99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27142753-B18F-4F56-BA83-2076EBB3E0E6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65A9383D-49FD-48E7-B231-F5A2CB4DA23A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DA193224-779D-4D71-A7BF-DE5590FC953B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490B26ED-4676-4656-BD40-1A20699F6B0A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9AA0174-CE3D-4BC7-9952-B21DFF7C417D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2" name="Grafik 34" descr="Solarmodule">
            <a:extLst>
              <a:ext uri="{FF2B5EF4-FFF2-40B4-BE49-F238E27FC236}">
                <a16:creationId xmlns:a16="http://schemas.microsoft.com/office/drawing/2014/main" id="{81F23693-6422-4C85-8765-CE92C9843C0D}"/>
              </a:ext>
            </a:extLst>
          </p:cNvPr>
          <p:cNvGrpSpPr/>
          <p:nvPr/>
        </p:nvGrpSpPr>
        <p:grpSpPr>
          <a:xfrm>
            <a:off x="2447630" y="5666970"/>
            <a:ext cx="375157" cy="375157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E0A09E23-3CA9-496C-A849-13D358B93266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002B3447-7716-455E-9FA1-BAA3D8A6854E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A008E092-0519-43DE-931D-EBBD4275A469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75F8F10E-9BF7-4B4E-A7A1-2575306B4437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6D56315E-C2BB-47D7-93E7-83ECE4222178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C9961A8A-01D2-440C-98FB-6AB36A4C0916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F5374A4F-4A9D-46FE-A05B-54E193DFD9BC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2ADA70B5-73B4-4C34-BBF2-D5A103FF62B1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F118A006-056B-4CE7-8BC3-88D1095C8721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C55FAC0D-88A9-46BB-AF19-0722BD300797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DB7E5FB2-FD4F-4DC2-BAE0-9060420AE249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49FA2F0A-CE2A-4A6D-B5F7-A7D1707F945A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C6066FDE-3658-4734-BAFC-72589C55CB24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4AA582BA-C004-43F3-87D9-E694E9BBE34D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00FD92E9-C838-4977-8DFD-B6F7A861D7F8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89E5E7C5-3EBD-40E9-9AB2-DE441EACC6C6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533AA94E-2E95-435E-A760-2FB99A5D4F40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7EE2FDBE-B5AD-43BD-9342-A22A3EB9B732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95988707-FEEF-4F40-B8A4-47846CEB19D0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8" name="Grafik 7" descr="Windkraftanlagen">
            <a:extLst>
              <a:ext uri="{FF2B5EF4-FFF2-40B4-BE49-F238E27FC236}">
                <a16:creationId xmlns:a16="http://schemas.microsoft.com/office/drawing/2014/main" id="{CE328A5C-C9D0-43DF-8749-AB9F2C10491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5707" y="5633367"/>
            <a:ext cx="378201" cy="378201"/>
          </a:xfrm>
          <a:prstGeom prst="rect">
            <a:avLst/>
          </a:prstGeom>
        </p:spPr>
      </p:pic>
      <p:pic>
        <p:nvPicPr>
          <p:cNvPr id="9" name="Grafik 8" descr="Windkraftanlagen">
            <a:extLst>
              <a:ext uri="{FF2B5EF4-FFF2-40B4-BE49-F238E27FC236}">
                <a16:creationId xmlns:a16="http://schemas.microsoft.com/office/drawing/2014/main" id="{3D02242B-0F3A-48C7-8A90-B1D243D333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63184" y="5608404"/>
            <a:ext cx="378201" cy="378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37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1" grpId="0" animBg="1"/>
      <p:bldP spid="63" grpId="0"/>
      <p:bldP spid="111" grpId="0"/>
      <p:bldP spid="122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hteck 105">
            <a:extLst>
              <a:ext uri="{FF2B5EF4-FFF2-40B4-BE49-F238E27FC236}">
                <a16:creationId xmlns:a16="http://schemas.microsoft.com/office/drawing/2014/main" id="{F1731F22-811A-45F0-ACD5-4A47FD1DCAE7}"/>
              </a:ext>
            </a:extLst>
          </p:cNvPr>
          <p:cNvSpPr/>
          <p:nvPr/>
        </p:nvSpPr>
        <p:spPr>
          <a:xfrm>
            <a:off x="528001" y="5330316"/>
            <a:ext cx="3458049" cy="7625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EEG Vermarktung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23C9BF1-4DEC-4196-B8C5-2EDEBD23304C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F0BE27-7530-4619-B5E9-5BE45E2382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06ECE42-D481-4F8B-8612-AE6042B89D33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B6DEDB-2B25-4339-8A6B-FFAF93FE60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D3CFB3-70E6-4FD4-AA0F-8769C666FC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6</a:t>
            </a:fld>
            <a:endParaRPr lang="de-DE" alt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8F54220-DC4B-48C2-A629-36A0F28366C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Aufgabe der Agenten ist es aus dem Fahrplan (i.d.R. ein Punkt) eine Angebotskurve zu erstellen.</a:t>
            </a: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C1526818-AB38-4BB2-B368-F9CF4E0B8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386072"/>
              </p:ext>
            </p:extLst>
          </p:nvPr>
        </p:nvGraphicFramePr>
        <p:xfrm>
          <a:off x="528000" y="2475363"/>
          <a:ext cx="3458050" cy="2782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4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55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7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latin typeface="+mj-lt"/>
                        </a:rPr>
                        <a:t>Volumina</a:t>
                      </a:r>
                      <a:r>
                        <a:rPr lang="en-US" sz="1000" b="1" dirty="0">
                          <a:latin typeface="+mj-lt"/>
                        </a:rPr>
                        <a:t> MWh</a:t>
                      </a:r>
                    </a:p>
                  </a:txBody>
                  <a:tcPr marL="91452" marR="91452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4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4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45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+mj-lt"/>
                        </a:rPr>
                        <a:t>…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789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4" name="Rechteck 53">
            <a:extLst>
              <a:ext uri="{FF2B5EF4-FFF2-40B4-BE49-F238E27FC236}">
                <a16:creationId xmlns:a16="http://schemas.microsoft.com/office/drawing/2014/main" id="{05A290DE-4441-4A2A-881F-BEC5E02CA397}"/>
              </a:ext>
            </a:extLst>
          </p:cNvPr>
          <p:cNvSpPr/>
          <p:nvPr/>
        </p:nvSpPr>
        <p:spPr>
          <a:xfrm>
            <a:off x="1372580" y="2769249"/>
            <a:ext cx="720080" cy="10081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D8EDFC8-F251-421E-9CF9-FDEF62768827}"/>
              </a:ext>
            </a:extLst>
          </p:cNvPr>
          <p:cNvCxnSpPr/>
          <p:nvPr/>
        </p:nvCxnSpPr>
        <p:spPr>
          <a:xfrm>
            <a:off x="5286493" y="1990430"/>
            <a:ext cx="0" cy="3600400"/>
          </a:xfrm>
          <a:prstGeom prst="line">
            <a:avLst/>
          </a:prstGeom>
          <a:ln w="38100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2D9D366-89DB-4164-A559-550024AF2422}"/>
              </a:ext>
            </a:extLst>
          </p:cNvPr>
          <p:cNvCxnSpPr>
            <a:cxnSpLocks/>
          </p:cNvCxnSpPr>
          <p:nvPr/>
        </p:nvCxnSpPr>
        <p:spPr>
          <a:xfrm rot="16200000">
            <a:off x="6942677" y="3700379"/>
            <a:ext cx="0" cy="360040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244600B2-3CCF-44F1-AA65-4FEA322F06CB}"/>
              </a:ext>
            </a:extLst>
          </p:cNvPr>
          <p:cNvSpPr txBox="1"/>
          <p:nvPr/>
        </p:nvSpPr>
        <p:spPr>
          <a:xfrm>
            <a:off x="7954956" y="5556861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e [MWh]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F121872-1206-46A9-9C40-817938D7B122}"/>
              </a:ext>
            </a:extLst>
          </p:cNvPr>
          <p:cNvSpPr txBox="1"/>
          <p:nvPr/>
        </p:nvSpPr>
        <p:spPr>
          <a:xfrm rot="16200000">
            <a:off x="4464694" y="2468019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is [€/MWh]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D33659D8-0242-48BE-9731-3AF5606C873E}"/>
              </a:ext>
            </a:extLst>
          </p:cNvPr>
          <p:cNvSpPr/>
          <p:nvPr/>
        </p:nvSpPr>
        <p:spPr>
          <a:xfrm>
            <a:off x="7918956" y="3393000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5569EFFF-09F6-497A-BA58-C2221E87BB19}"/>
              </a:ext>
            </a:extLst>
          </p:cNvPr>
          <p:cNvSpPr txBox="1"/>
          <p:nvPr/>
        </p:nvSpPr>
        <p:spPr>
          <a:xfrm>
            <a:off x="7990956" y="3298195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540; -500)</a:t>
            </a:r>
          </a:p>
        </p:txBody>
      </p:sp>
      <p:graphicFrame>
        <p:nvGraphicFramePr>
          <p:cNvPr id="103" name="Tabelle 102">
            <a:extLst>
              <a:ext uri="{FF2B5EF4-FFF2-40B4-BE49-F238E27FC236}">
                <a16:creationId xmlns:a16="http://schemas.microsoft.com/office/drawing/2014/main" id="{F0AF9D87-E60E-4D3C-BC99-F6DC2EEFD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4058296"/>
              </p:ext>
            </p:extLst>
          </p:nvPr>
        </p:nvGraphicFramePr>
        <p:xfrm>
          <a:off x="7308280" y="3701439"/>
          <a:ext cx="3458050" cy="13007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5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-500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-500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-500</a:t>
                      </a: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MWh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5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…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% </a:t>
                      </a:r>
                      <a:r>
                        <a:rPr lang="en-US" sz="1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opt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5E50F309-751C-4328-ACA6-D5BF2E6817E8}"/>
              </a:ext>
            </a:extLst>
          </p:cNvPr>
          <p:cNvCxnSpPr/>
          <p:nvPr/>
        </p:nvCxnSpPr>
        <p:spPr>
          <a:xfrm>
            <a:off x="2419384" y="3518518"/>
            <a:ext cx="2723093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63ED23C8-25D7-44EF-BA92-A1FCBA76042A}"/>
              </a:ext>
            </a:extLst>
          </p:cNvPr>
          <p:cNvCxnSpPr>
            <a:cxnSpLocks/>
            <a:endCxn id="103" idx="1"/>
          </p:cNvCxnSpPr>
          <p:nvPr/>
        </p:nvCxnSpPr>
        <p:spPr>
          <a:xfrm rot="16200000" flipH="1">
            <a:off x="6455671" y="3499219"/>
            <a:ext cx="886828" cy="818390"/>
          </a:xfrm>
          <a:prstGeom prst="bentConnector2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Textfeld 110">
            <a:extLst>
              <a:ext uri="{FF2B5EF4-FFF2-40B4-BE49-F238E27FC236}">
                <a16:creationId xmlns:a16="http://schemas.microsoft.com/office/drawing/2014/main" id="{7F377EF2-DD47-408D-B780-B16F8CB3107D}"/>
              </a:ext>
            </a:extLst>
          </p:cNvPr>
          <p:cNvSpPr txBox="1"/>
          <p:nvPr/>
        </p:nvSpPr>
        <p:spPr>
          <a:xfrm>
            <a:off x="5269924" y="3504758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0; -500)</a:t>
            </a:r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3C3B0088-0192-49E6-9C86-DF79BABB52E2}"/>
              </a:ext>
            </a:extLst>
          </p:cNvPr>
          <p:cNvCxnSpPr>
            <a:cxnSpLocks/>
            <a:stCxn id="122" idx="6"/>
            <a:endCxn id="61" idx="2"/>
          </p:cNvCxnSpPr>
          <p:nvPr/>
        </p:nvCxnSpPr>
        <p:spPr>
          <a:xfrm>
            <a:off x="5322492" y="3429000"/>
            <a:ext cx="2596464" cy="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2" name="Ellipse 121">
            <a:extLst>
              <a:ext uri="{FF2B5EF4-FFF2-40B4-BE49-F238E27FC236}">
                <a16:creationId xmlns:a16="http://schemas.microsoft.com/office/drawing/2014/main" id="{A7F5682C-98C9-423B-98B4-E658E043C74C}"/>
              </a:ext>
            </a:extLst>
          </p:cNvPr>
          <p:cNvSpPr/>
          <p:nvPr/>
        </p:nvSpPr>
        <p:spPr>
          <a:xfrm>
            <a:off x="5250492" y="3393000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550E729-5197-4F6F-964B-7AC4D36EFC73}"/>
              </a:ext>
            </a:extLst>
          </p:cNvPr>
          <p:cNvGrpSpPr/>
          <p:nvPr/>
        </p:nvGrpSpPr>
        <p:grpSpPr>
          <a:xfrm>
            <a:off x="867811" y="5547056"/>
            <a:ext cx="914991" cy="505644"/>
            <a:chOff x="768201" y="5510865"/>
            <a:chExt cx="914991" cy="505644"/>
          </a:xfrm>
        </p:grpSpPr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0E8A0503-6F20-43C6-95E9-7F726312E715}"/>
                </a:ext>
              </a:extLst>
            </p:cNvPr>
            <p:cNvSpPr/>
            <p:nvPr/>
          </p:nvSpPr>
          <p:spPr>
            <a:xfrm>
              <a:off x="768201" y="5573122"/>
              <a:ext cx="432048" cy="382694"/>
            </a:xfrm>
            <a:custGeom>
              <a:avLst/>
              <a:gdLst>
                <a:gd name="connsiteX0" fmla="*/ 632774 w 789298"/>
                <a:gd name="connsiteY0" fmla="*/ 51225 h 699134"/>
                <a:gd name="connsiteX1" fmla="*/ 537524 w 789298"/>
                <a:gd name="connsiteY1" fmla="*/ 51225 h 699134"/>
                <a:gd name="connsiteX2" fmla="*/ 537524 w 789298"/>
                <a:gd name="connsiteY2" fmla="*/ 135693 h 699134"/>
                <a:gd name="connsiteX3" fmla="*/ 394649 w 789298"/>
                <a:gd name="connsiteY3" fmla="*/ 0 h 699134"/>
                <a:gd name="connsiteX4" fmla="*/ 0 w 789298"/>
                <a:gd name="connsiteY4" fmla="*/ 374885 h 699134"/>
                <a:gd name="connsiteX5" fmla="*/ 61808 w 789298"/>
                <a:gd name="connsiteY5" fmla="*/ 436683 h 699134"/>
                <a:gd name="connsiteX6" fmla="*/ 108899 w 789298"/>
                <a:gd name="connsiteY6" fmla="*/ 392087 h 699134"/>
                <a:gd name="connsiteX7" fmla="*/ 108899 w 789298"/>
                <a:gd name="connsiteY7" fmla="*/ 698906 h 699134"/>
                <a:gd name="connsiteX8" fmla="*/ 347024 w 789298"/>
                <a:gd name="connsiteY8" fmla="*/ 699002 h 699134"/>
                <a:gd name="connsiteX9" fmla="*/ 347024 w 789298"/>
                <a:gd name="connsiteY9" fmla="*/ 460953 h 699134"/>
                <a:gd name="connsiteX10" fmla="*/ 442274 w 789298"/>
                <a:gd name="connsiteY10" fmla="*/ 460953 h 699134"/>
                <a:gd name="connsiteX11" fmla="*/ 442274 w 789298"/>
                <a:gd name="connsiteY11" fmla="*/ 699078 h 699134"/>
                <a:gd name="connsiteX12" fmla="*/ 680399 w 789298"/>
                <a:gd name="connsiteY12" fmla="*/ 699135 h 699134"/>
                <a:gd name="connsiteX13" fmla="*/ 680399 w 789298"/>
                <a:gd name="connsiteY13" fmla="*/ 391687 h 699134"/>
                <a:gd name="connsiteX14" fmla="*/ 727729 w 789298"/>
                <a:gd name="connsiteY14" fmla="*/ 436455 h 699134"/>
                <a:gd name="connsiteX15" fmla="*/ 789299 w 789298"/>
                <a:gd name="connsiteY15" fmla="*/ 374894 h 699134"/>
                <a:gd name="connsiteX16" fmla="*/ 632774 w 789298"/>
                <a:gd name="connsiteY16" fmla="*/ 226181 h 699134"/>
                <a:gd name="connsiteX17" fmla="*/ 556574 w 789298"/>
                <a:gd name="connsiteY17" fmla="*/ 70275 h 699134"/>
                <a:gd name="connsiteX18" fmla="*/ 613724 w 789298"/>
                <a:gd name="connsiteY18" fmla="*/ 70275 h 699134"/>
                <a:gd name="connsiteX19" fmla="*/ 613724 w 789298"/>
                <a:gd name="connsiteY19" fmla="*/ 208083 h 699134"/>
                <a:gd name="connsiteX20" fmla="*/ 556574 w 789298"/>
                <a:gd name="connsiteY20" fmla="*/ 153791 h 699134"/>
                <a:gd name="connsiteX21" fmla="*/ 661349 w 789298"/>
                <a:gd name="connsiteY21" fmla="*/ 680085 h 699134"/>
                <a:gd name="connsiteX22" fmla="*/ 461324 w 789298"/>
                <a:gd name="connsiteY22" fmla="*/ 679999 h 699134"/>
                <a:gd name="connsiteX23" fmla="*/ 461324 w 789298"/>
                <a:gd name="connsiteY23" fmla="*/ 441874 h 699134"/>
                <a:gd name="connsiteX24" fmla="*/ 327974 w 789298"/>
                <a:gd name="connsiteY24" fmla="*/ 441874 h 699134"/>
                <a:gd name="connsiteX25" fmla="*/ 327974 w 789298"/>
                <a:gd name="connsiteY25" fmla="*/ 679942 h 699134"/>
                <a:gd name="connsiteX26" fmla="*/ 127949 w 789298"/>
                <a:gd name="connsiteY26" fmla="*/ 679866 h 699134"/>
                <a:gd name="connsiteX27" fmla="*/ 127949 w 789298"/>
                <a:gd name="connsiteY27" fmla="*/ 374047 h 699134"/>
                <a:gd name="connsiteX28" fmla="*/ 394649 w 789298"/>
                <a:gd name="connsiteY28" fmla="*/ 121482 h 699134"/>
                <a:gd name="connsiteX29" fmla="*/ 661349 w 789298"/>
                <a:gd name="connsiteY29" fmla="*/ 373675 h 699134"/>
                <a:gd name="connsiteX30" fmla="*/ 62160 w 789298"/>
                <a:gd name="connsiteY30" fmla="*/ 410108 h 699134"/>
                <a:gd name="connsiteX31" fmla="*/ 27299 w 789298"/>
                <a:gd name="connsiteY31" fmla="*/ 375285 h 699134"/>
                <a:gd name="connsiteX32" fmla="*/ 394649 w 789298"/>
                <a:gd name="connsiteY32" fmla="*/ 26251 h 699134"/>
                <a:gd name="connsiteX33" fmla="*/ 762000 w 789298"/>
                <a:gd name="connsiteY33" fmla="*/ 375285 h 699134"/>
                <a:gd name="connsiteX34" fmla="*/ 727358 w 789298"/>
                <a:gd name="connsiteY34" fmla="*/ 409880 h 699134"/>
                <a:gd name="connsiteX35" fmla="*/ 394649 w 789298"/>
                <a:gd name="connsiteY35" fmla="*/ 95250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89298" h="699134">
                  <a:moveTo>
                    <a:pt x="632774" y="51225"/>
                  </a:moveTo>
                  <a:lnTo>
                    <a:pt x="537524" y="51225"/>
                  </a:lnTo>
                  <a:lnTo>
                    <a:pt x="537524" y="135693"/>
                  </a:lnTo>
                  <a:lnTo>
                    <a:pt x="394649" y="0"/>
                  </a:lnTo>
                  <a:lnTo>
                    <a:pt x="0" y="374885"/>
                  </a:lnTo>
                  <a:lnTo>
                    <a:pt x="61808" y="436683"/>
                  </a:lnTo>
                  <a:lnTo>
                    <a:pt x="108899" y="392087"/>
                  </a:lnTo>
                  <a:lnTo>
                    <a:pt x="108899" y="698906"/>
                  </a:lnTo>
                  <a:lnTo>
                    <a:pt x="347024" y="699002"/>
                  </a:lnTo>
                  <a:lnTo>
                    <a:pt x="347024" y="460953"/>
                  </a:lnTo>
                  <a:lnTo>
                    <a:pt x="442274" y="460953"/>
                  </a:lnTo>
                  <a:lnTo>
                    <a:pt x="442274" y="699078"/>
                  </a:lnTo>
                  <a:lnTo>
                    <a:pt x="680399" y="699135"/>
                  </a:lnTo>
                  <a:lnTo>
                    <a:pt x="680399" y="391687"/>
                  </a:lnTo>
                  <a:lnTo>
                    <a:pt x="727729" y="436455"/>
                  </a:lnTo>
                  <a:lnTo>
                    <a:pt x="789299" y="374894"/>
                  </a:lnTo>
                  <a:lnTo>
                    <a:pt x="632774" y="226181"/>
                  </a:lnTo>
                  <a:close/>
                  <a:moveTo>
                    <a:pt x="556574" y="70275"/>
                  </a:moveTo>
                  <a:lnTo>
                    <a:pt x="613724" y="70275"/>
                  </a:lnTo>
                  <a:lnTo>
                    <a:pt x="613724" y="208083"/>
                  </a:lnTo>
                  <a:lnTo>
                    <a:pt x="556574" y="153791"/>
                  </a:lnTo>
                  <a:close/>
                  <a:moveTo>
                    <a:pt x="661349" y="680085"/>
                  </a:moveTo>
                  <a:lnTo>
                    <a:pt x="461324" y="679999"/>
                  </a:lnTo>
                  <a:lnTo>
                    <a:pt x="461324" y="441874"/>
                  </a:lnTo>
                  <a:lnTo>
                    <a:pt x="327974" y="441874"/>
                  </a:lnTo>
                  <a:lnTo>
                    <a:pt x="327974" y="679942"/>
                  </a:lnTo>
                  <a:lnTo>
                    <a:pt x="127949" y="679866"/>
                  </a:lnTo>
                  <a:lnTo>
                    <a:pt x="127949" y="374047"/>
                  </a:lnTo>
                  <a:lnTo>
                    <a:pt x="394649" y="121482"/>
                  </a:lnTo>
                  <a:lnTo>
                    <a:pt x="661349" y="373675"/>
                  </a:lnTo>
                  <a:close/>
                  <a:moveTo>
                    <a:pt x="62160" y="410108"/>
                  </a:moveTo>
                  <a:lnTo>
                    <a:pt x="27299" y="375285"/>
                  </a:lnTo>
                  <a:lnTo>
                    <a:pt x="394649" y="26251"/>
                  </a:lnTo>
                  <a:lnTo>
                    <a:pt x="762000" y="375285"/>
                  </a:lnTo>
                  <a:lnTo>
                    <a:pt x="727358" y="409880"/>
                  </a:lnTo>
                  <a:lnTo>
                    <a:pt x="394649" y="9525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2" name="Grafik 34" descr="Solarmodule">
              <a:extLst>
                <a:ext uri="{FF2B5EF4-FFF2-40B4-BE49-F238E27FC236}">
                  <a16:creationId xmlns:a16="http://schemas.microsoft.com/office/drawing/2014/main" id="{BEBD7C7D-608A-4AC0-B936-90F201F8EC9A}"/>
                </a:ext>
              </a:extLst>
            </p:cNvPr>
            <p:cNvGrpSpPr/>
            <p:nvPr/>
          </p:nvGrpSpPr>
          <p:grpSpPr>
            <a:xfrm>
              <a:off x="1177548" y="5510865"/>
              <a:ext cx="505644" cy="505644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2389823B-C493-4C41-984D-F28335A9427A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84D86F20-24AF-474A-A18A-7C4C29A61C7F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995C7DDD-C1BE-4136-A7FA-6EDA8DA9D4FA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766E9DE0-D49F-4865-92BA-930341FCDBF9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AFD27424-07BA-4644-BBAF-F13FBF944340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5BD11670-51B8-421E-BB2D-12632D441336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F8EEE542-B81E-4ED0-911D-2BCB6ABBA1A1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DE92DCD2-3E47-4FBB-8EB1-DDEA18981E2F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7100686B-A07C-4688-AB02-A0FD5A4E9E8F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6F9832A5-ED2B-4161-8820-AB6F12A1C11D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004DB985-9BDD-401B-838B-35505A7BDE18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821C4FD1-137A-4D9C-B79B-15D1BFB8C236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89AE8A78-6837-4430-BC12-E50AB83E2E93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51082F4C-5BE4-4605-B972-7F73F13A1B0E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2E409DCE-14EB-4B69-BAF6-505635AA3734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BE2AC2EF-CECA-473F-B9FD-6C7EA026E07B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103A0973-052E-47C9-A179-A43FA0150FC8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01850EF7-B7CE-43A7-A2EC-983F5CA5E82D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42F7F96E-3821-4AC6-A602-7F86112E6861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pic>
        <p:nvPicPr>
          <p:cNvPr id="102" name="Picture 2" descr="Biogasvertrieb Nord GmbH &amp; Co.KG - Home">
            <a:extLst>
              <a:ext uri="{FF2B5EF4-FFF2-40B4-BE49-F238E27FC236}">
                <a16:creationId xmlns:a16="http://schemas.microsoft.com/office/drawing/2014/main" id="{301782FD-A76A-4B72-B161-2E4000577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282" y="5330189"/>
            <a:ext cx="836254" cy="836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Grafik 103" descr="Wassermann">
            <a:extLst>
              <a:ext uri="{FF2B5EF4-FFF2-40B4-BE49-F238E27FC236}">
                <a16:creationId xmlns:a16="http://schemas.microsoft.com/office/drawing/2014/main" id="{5B124A40-060F-4043-9E64-EC52E1C5DE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17033" y="5327947"/>
            <a:ext cx="759466" cy="75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2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1" grpId="0" animBg="1"/>
      <p:bldP spid="63" grpId="0"/>
      <p:bldP spid="111" grpId="0"/>
      <p:bldP spid="122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8F16985-B3CF-4847-A24C-833AF88DE5C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4 – Erneuerbare Energi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ABED0F-177B-4FBD-BFA8-9A457242679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FFBD0218-73DC-4B46-BB52-85375D6D3F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696A1E-2547-4CA3-8286-01F8F61D01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1C08EBC-8C47-4044-BE91-7E78AF94956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7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50514E1-80B0-43BE-96B0-5FFA6B6F5F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Für die Direktvermarktung wird der gleiche Algorithmus wie bei den konventionellen Kraftwerken verwendet. Die EEG-Mengen werden immer zum konstanten Preis von -500 €/MWh vermarktetet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F245711-156A-46BB-A363-54A0D7C9F115}"/>
              </a:ext>
            </a:extLst>
          </p:cNvPr>
          <p:cNvSpPr/>
          <p:nvPr/>
        </p:nvSpPr>
        <p:spPr>
          <a:xfrm>
            <a:off x="571065" y="3514082"/>
            <a:ext cx="2068551" cy="146485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/>
              <a:t>RES</a:t>
            </a:r>
          </a:p>
          <a:p>
            <a:pPr algn="ctr"/>
            <a:r>
              <a:rPr lang="de-DE" sz="1400" dirty="0"/>
              <a:t>Agent</a:t>
            </a:r>
          </a:p>
        </p:txBody>
      </p:sp>
      <p:cxnSp>
        <p:nvCxnSpPr>
          <p:cNvPr id="9" name="Gewinkelter Verbinder 32">
            <a:extLst>
              <a:ext uri="{FF2B5EF4-FFF2-40B4-BE49-F238E27FC236}">
                <a16:creationId xmlns:a16="http://schemas.microsoft.com/office/drawing/2014/main" id="{366BFB40-9A1E-4D35-A371-3AA9B267D38D}"/>
              </a:ext>
            </a:extLst>
          </p:cNvPr>
          <p:cNvCxnSpPr>
            <a:cxnSpLocks/>
            <a:stCxn id="13" idx="2"/>
            <a:endCxn id="12" idx="2"/>
          </p:cNvCxnSpPr>
          <p:nvPr/>
        </p:nvCxnSpPr>
        <p:spPr>
          <a:xfrm rot="5400000" flipH="1">
            <a:off x="5976067" y="590072"/>
            <a:ext cx="17937" cy="8759797"/>
          </a:xfrm>
          <a:prstGeom prst="bentConnector3">
            <a:avLst>
              <a:gd name="adj1" fmla="val -3387083"/>
            </a:avLst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D5898B73-A9BF-4BBF-8B80-86439EC50F94}"/>
              </a:ext>
            </a:extLst>
          </p:cNvPr>
          <p:cNvSpPr txBox="1"/>
          <p:nvPr/>
        </p:nvSpPr>
        <p:spPr>
          <a:xfrm>
            <a:off x="3716182" y="5678710"/>
            <a:ext cx="4759636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lohnung des Agent durch Gewinne bzw. </a:t>
            </a:r>
            <a:r>
              <a:rPr lang="de-DE" sz="1100" kern="0" dirty="0" err="1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zuschlagte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ebot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44C11DC-1F3C-4380-8F78-2F44A2CDE2DE}"/>
              </a:ext>
            </a:extLst>
          </p:cNvPr>
          <p:cNvSpPr txBox="1"/>
          <p:nvPr/>
        </p:nvSpPr>
        <p:spPr>
          <a:xfrm>
            <a:off x="4982825" y="4310528"/>
            <a:ext cx="2034531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non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iel: </a:t>
            </a: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winnmaximier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78DA1AF-01F6-43B9-804D-B791D8F3429E}"/>
              </a:ext>
            </a:extLst>
          </p:cNvPr>
          <p:cNvSpPr txBox="1"/>
          <p:nvPr/>
        </p:nvSpPr>
        <p:spPr>
          <a:xfrm>
            <a:off x="939511" y="4622447"/>
            <a:ext cx="1331251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800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Wiederholungen zur Strategieentwicklung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15CCB5B-46F3-4214-A65D-0325841B4FDD}"/>
              </a:ext>
            </a:extLst>
          </p:cNvPr>
          <p:cNvSpPr/>
          <p:nvPr/>
        </p:nvSpPr>
        <p:spPr>
          <a:xfrm>
            <a:off x="9330658" y="3547918"/>
            <a:ext cx="2068551" cy="14310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sz="1400" dirty="0" err="1"/>
              <a:t>DayAhead</a:t>
            </a:r>
            <a:r>
              <a:rPr lang="de-DE" sz="1400" dirty="0"/>
              <a:t> Markt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A3F09DEF-D53B-4415-BACB-8F2E2F4690AC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>
            <a:off x="2639616" y="4246510"/>
            <a:ext cx="6691042" cy="1691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4AA4AD3-EC0B-43A1-9EE7-CEC4EF3EC439}"/>
              </a:ext>
            </a:extLst>
          </p:cNvPr>
          <p:cNvGrpSpPr/>
          <p:nvPr/>
        </p:nvGrpSpPr>
        <p:grpSpPr>
          <a:xfrm>
            <a:off x="3935760" y="2505243"/>
            <a:ext cx="4320480" cy="1611291"/>
            <a:chOff x="2999656" y="1988840"/>
            <a:chExt cx="5976664" cy="2228952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194036BF-CB5F-4600-B535-6F9AFD69FDBC}"/>
                </a:ext>
              </a:extLst>
            </p:cNvPr>
            <p:cNvGrpSpPr/>
            <p:nvPr/>
          </p:nvGrpSpPr>
          <p:grpSpPr>
            <a:xfrm>
              <a:off x="2999656" y="1988840"/>
              <a:ext cx="5976664" cy="2228952"/>
              <a:chOff x="2999656" y="1988840"/>
              <a:chExt cx="5976664" cy="2228952"/>
            </a:xfrm>
          </p:grpSpPr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160960F0-812F-429C-B529-3446A11DD0C2}"/>
                  </a:ext>
                </a:extLst>
              </p:cNvPr>
              <p:cNvSpPr txBox="1"/>
              <p:nvPr/>
            </p:nvSpPr>
            <p:spPr>
              <a:xfrm>
                <a:off x="3489540" y="2019780"/>
                <a:ext cx="1004965" cy="319317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ktion 1</a:t>
                </a:r>
              </a:p>
            </p:txBody>
          </p:sp>
          <p:grpSp>
            <p:nvGrpSpPr>
              <p:cNvPr id="19" name="Gruppieren 18">
                <a:extLst>
                  <a:ext uri="{FF2B5EF4-FFF2-40B4-BE49-F238E27FC236}">
                    <a16:creationId xmlns:a16="http://schemas.microsoft.com/office/drawing/2014/main" id="{00353ECF-E98B-4652-A7FC-AAA2CA873E7E}"/>
                  </a:ext>
                </a:extLst>
              </p:cNvPr>
              <p:cNvGrpSpPr/>
              <p:nvPr/>
            </p:nvGrpSpPr>
            <p:grpSpPr>
              <a:xfrm>
                <a:off x="3108873" y="2477752"/>
                <a:ext cx="1686328" cy="1740040"/>
                <a:chOff x="4671003" y="1990430"/>
                <a:chExt cx="4144741" cy="4276764"/>
              </a:xfrm>
            </p:grpSpPr>
            <p:cxnSp>
              <p:nvCxnSpPr>
                <p:cNvPr id="50" name="Gerader Verbinder 49">
                  <a:extLst>
                    <a:ext uri="{FF2B5EF4-FFF2-40B4-BE49-F238E27FC236}">
                      <a16:creationId xmlns:a16="http://schemas.microsoft.com/office/drawing/2014/main" id="{5BBBA87E-6140-4F4F-85C5-E47A8FD4E554}"/>
                    </a:ext>
                  </a:extLst>
                </p:cNvPr>
                <p:cNvCxnSpPr/>
                <p:nvPr/>
              </p:nvCxnSpPr>
              <p:spPr>
                <a:xfrm>
                  <a:off x="5286493" y="1990430"/>
                  <a:ext cx="0" cy="3600400"/>
                </a:xfrm>
                <a:prstGeom prst="line">
                  <a:avLst/>
                </a:prstGeom>
                <a:ln w="38100">
                  <a:headEnd type="triangl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>
                  <a:extLst>
                    <a:ext uri="{FF2B5EF4-FFF2-40B4-BE49-F238E27FC236}">
                      <a16:creationId xmlns:a16="http://schemas.microsoft.com/office/drawing/2014/main" id="{BB13B820-8BBD-46B8-94A9-56464B6A88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6942677" y="3700379"/>
                  <a:ext cx="0" cy="3600400"/>
                </a:xfrm>
                <a:prstGeom prst="line">
                  <a:avLst/>
                </a:prstGeom>
                <a:ln w="38100">
                  <a:headEnd type="none" w="med" len="med"/>
                  <a:tailEnd type="triangl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52" name="Textfeld 51">
                  <a:extLst>
                    <a:ext uri="{FF2B5EF4-FFF2-40B4-BE49-F238E27FC236}">
                      <a16:creationId xmlns:a16="http://schemas.microsoft.com/office/drawing/2014/main" id="{2AE579E7-CED7-442C-B006-316B1270BC23}"/>
                    </a:ext>
                  </a:extLst>
                </p:cNvPr>
                <p:cNvSpPr txBox="1"/>
                <p:nvPr/>
              </p:nvSpPr>
              <p:spPr>
                <a:xfrm>
                  <a:off x="5991140" y="5587001"/>
                  <a:ext cx="2824604" cy="680193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enge [MWh]</a:t>
                  </a:r>
                </a:p>
              </p:txBody>
            </p:sp>
            <p:sp>
              <p:nvSpPr>
                <p:cNvPr id="53" name="Textfeld 52">
                  <a:extLst>
                    <a:ext uri="{FF2B5EF4-FFF2-40B4-BE49-F238E27FC236}">
                      <a16:creationId xmlns:a16="http://schemas.microsoft.com/office/drawing/2014/main" id="{3B3DCE05-02DA-4ACA-AB78-C8D729AE3BFF}"/>
                    </a:ext>
                  </a:extLst>
                </p:cNvPr>
                <p:cNvSpPr txBox="1"/>
                <p:nvPr/>
              </p:nvSpPr>
              <p:spPr>
                <a:xfrm rot="16200000">
                  <a:off x="3595915" y="3224574"/>
                  <a:ext cx="2830367" cy="680192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eis [€/MWh]</a:t>
                  </a:r>
                </a:p>
              </p:txBody>
            </p:sp>
            <p:sp>
              <p:nvSpPr>
                <p:cNvPr id="54" name="Ellipse 53">
                  <a:extLst>
                    <a:ext uri="{FF2B5EF4-FFF2-40B4-BE49-F238E27FC236}">
                      <a16:creationId xmlns:a16="http://schemas.microsoft.com/office/drawing/2014/main" id="{EAFFED08-0FA8-42A8-BF5B-13ABF771D224}"/>
                    </a:ext>
                  </a:extLst>
                </p:cNvPr>
                <p:cNvSpPr/>
                <p:nvPr/>
              </p:nvSpPr>
              <p:spPr>
                <a:xfrm>
                  <a:off x="7918956" y="2400391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55" name="Gerader Verbinder 54">
                  <a:extLst>
                    <a:ext uri="{FF2B5EF4-FFF2-40B4-BE49-F238E27FC236}">
                      <a16:creationId xmlns:a16="http://schemas.microsoft.com/office/drawing/2014/main" id="{F48FCA7E-32F0-48BE-86ED-8566F1FD22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258222" y="2436391"/>
                  <a:ext cx="1858958" cy="293774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Gerader Verbinder 55">
                  <a:extLst>
                    <a:ext uri="{FF2B5EF4-FFF2-40B4-BE49-F238E27FC236}">
                      <a16:creationId xmlns:a16="http://schemas.microsoft.com/office/drawing/2014/main" id="{36E57FFB-1AF8-4F16-9868-38DB5B066C6B}"/>
                    </a:ext>
                  </a:extLst>
                </p:cNvPr>
                <p:cNvCxnSpPr>
                  <a:cxnSpLocks/>
                  <a:stCxn id="54" idx="2"/>
                </p:cNvCxnSpPr>
                <p:nvPr/>
              </p:nvCxnSpPr>
              <p:spPr>
                <a:xfrm flipH="1">
                  <a:off x="7107223" y="2436391"/>
                  <a:ext cx="811733" cy="0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57" name="Ellipse 56">
                  <a:extLst>
                    <a:ext uri="{FF2B5EF4-FFF2-40B4-BE49-F238E27FC236}">
                      <a16:creationId xmlns:a16="http://schemas.microsoft.com/office/drawing/2014/main" id="{201D744D-3E5B-47A8-BBCE-4CFFA5497C79}"/>
                    </a:ext>
                  </a:extLst>
                </p:cNvPr>
                <p:cNvSpPr/>
                <p:nvPr/>
              </p:nvSpPr>
              <p:spPr>
                <a:xfrm>
                  <a:off x="8492939" y="2077485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58" name="Gerader Verbinder 57">
                  <a:extLst>
                    <a:ext uri="{FF2B5EF4-FFF2-40B4-BE49-F238E27FC236}">
                      <a16:creationId xmlns:a16="http://schemas.microsoft.com/office/drawing/2014/main" id="{17C456D3-98BB-44D0-96C5-9A9B361F7B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109026"/>
                  <a:ext cx="537983" cy="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r Verbinder 58">
                  <a:extLst>
                    <a:ext uri="{FF2B5EF4-FFF2-40B4-BE49-F238E27FC236}">
                      <a16:creationId xmlns:a16="http://schemas.microsoft.com/office/drawing/2014/main" id="{9CD3DED7-BA3B-4D39-8BDE-5B61C72DD8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096533"/>
                  <a:ext cx="0" cy="30385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Gruppieren 19">
                <a:extLst>
                  <a:ext uri="{FF2B5EF4-FFF2-40B4-BE49-F238E27FC236}">
                    <a16:creationId xmlns:a16="http://schemas.microsoft.com/office/drawing/2014/main" id="{8FD46D20-358F-421B-AA28-B41BCE98C600}"/>
                  </a:ext>
                </a:extLst>
              </p:cNvPr>
              <p:cNvGrpSpPr/>
              <p:nvPr/>
            </p:nvGrpSpPr>
            <p:grpSpPr>
              <a:xfrm>
                <a:off x="5122973" y="2470389"/>
                <a:ext cx="1686329" cy="1740040"/>
                <a:chOff x="4671002" y="1990430"/>
                <a:chExt cx="4144742" cy="4276762"/>
              </a:xfrm>
            </p:grpSpPr>
            <p:cxnSp>
              <p:nvCxnSpPr>
                <p:cNvPr id="40" name="Gerader Verbinder 39">
                  <a:extLst>
                    <a:ext uri="{FF2B5EF4-FFF2-40B4-BE49-F238E27FC236}">
                      <a16:creationId xmlns:a16="http://schemas.microsoft.com/office/drawing/2014/main" id="{D6977498-B23D-4FD1-A4C5-96A7CD8B9CB5}"/>
                    </a:ext>
                  </a:extLst>
                </p:cNvPr>
                <p:cNvCxnSpPr/>
                <p:nvPr/>
              </p:nvCxnSpPr>
              <p:spPr>
                <a:xfrm>
                  <a:off x="5286493" y="1990430"/>
                  <a:ext cx="0" cy="3600400"/>
                </a:xfrm>
                <a:prstGeom prst="line">
                  <a:avLst/>
                </a:prstGeom>
                <a:ln w="38100">
                  <a:headEnd type="triangl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Gerader Verbinder 40">
                  <a:extLst>
                    <a:ext uri="{FF2B5EF4-FFF2-40B4-BE49-F238E27FC236}">
                      <a16:creationId xmlns:a16="http://schemas.microsoft.com/office/drawing/2014/main" id="{6F75DADB-05D8-4889-87BE-460A5C2938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6942677" y="3700379"/>
                  <a:ext cx="0" cy="3600400"/>
                </a:xfrm>
                <a:prstGeom prst="line">
                  <a:avLst/>
                </a:prstGeom>
                <a:ln w="38100">
                  <a:headEnd type="none" w="med" len="med"/>
                  <a:tailEnd type="triangl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>
                  <a:extLst>
                    <a:ext uri="{FF2B5EF4-FFF2-40B4-BE49-F238E27FC236}">
                      <a16:creationId xmlns:a16="http://schemas.microsoft.com/office/drawing/2014/main" id="{A462AC01-1C08-4AB8-A378-A9C2B97AEE0C}"/>
                    </a:ext>
                  </a:extLst>
                </p:cNvPr>
                <p:cNvSpPr txBox="1"/>
                <p:nvPr/>
              </p:nvSpPr>
              <p:spPr>
                <a:xfrm>
                  <a:off x="5991136" y="5586999"/>
                  <a:ext cx="2824608" cy="680193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enge [MWh]</a:t>
                  </a:r>
                </a:p>
              </p:txBody>
            </p:sp>
            <p:sp>
              <p:nvSpPr>
                <p:cNvPr id="43" name="Textfeld 42">
                  <a:extLst>
                    <a:ext uri="{FF2B5EF4-FFF2-40B4-BE49-F238E27FC236}">
                      <a16:creationId xmlns:a16="http://schemas.microsoft.com/office/drawing/2014/main" id="{C899D974-53CE-42E4-B1F6-EEBDC4DAED70}"/>
                    </a:ext>
                  </a:extLst>
                </p:cNvPr>
                <p:cNvSpPr txBox="1"/>
                <p:nvPr/>
              </p:nvSpPr>
              <p:spPr>
                <a:xfrm rot="16200000">
                  <a:off x="3595915" y="3224570"/>
                  <a:ext cx="2830365" cy="680192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eis [€/MWh]</a:t>
                  </a:r>
                </a:p>
              </p:txBody>
            </p:sp>
            <p:sp>
              <p:nvSpPr>
                <p:cNvPr id="44" name="Ellipse 43">
                  <a:extLst>
                    <a:ext uri="{FF2B5EF4-FFF2-40B4-BE49-F238E27FC236}">
                      <a16:creationId xmlns:a16="http://schemas.microsoft.com/office/drawing/2014/main" id="{FC4B5CEF-66AA-4522-B0D9-038ED7690B48}"/>
                    </a:ext>
                  </a:extLst>
                </p:cNvPr>
                <p:cNvSpPr/>
                <p:nvPr/>
              </p:nvSpPr>
              <p:spPr>
                <a:xfrm>
                  <a:off x="7918956" y="2400391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45" name="Gerader Verbinder 44">
                  <a:extLst>
                    <a:ext uri="{FF2B5EF4-FFF2-40B4-BE49-F238E27FC236}">
                      <a16:creationId xmlns:a16="http://schemas.microsoft.com/office/drawing/2014/main" id="{1FDADD14-4EF4-4F91-8C96-4507107445AA}"/>
                    </a:ext>
                  </a:extLst>
                </p:cNvPr>
                <p:cNvCxnSpPr>
                  <a:cxnSpLocks/>
                  <a:endCxn id="44" idx="3"/>
                </p:cNvCxnSpPr>
                <p:nvPr/>
              </p:nvCxnSpPr>
              <p:spPr>
                <a:xfrm flipV="1">
                  <a:off x="5286491" y="2461847"/>
                  <a:ext cx="2643009" cy="2961070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46" name="Ellipse 45">
                  <a:extLst>
                    <a:ext uri="{FF2B5EF4-FFF2-40B4-BE49-F238E27FC236}">
                      <a16:creationId xmlns:a16="http://schemas.microsoft.com/office/drawing/2014/main" id="{2018D2E3-DD28-42D7-8C44-812DC9CE144A}"/>
                    </a:ext>
                  </a:extLst>
                </p:cNvPr>
                <p:cNvSpPr/>
                <p:nvPr/>
              </p:nvSpPr>
              <p:spPr>
                <a:xfrm>
                  <a:off x="8492939" y="2077485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47" name="Gerader Verbinder 46">
                  <a:extLst>
                    <a:ext uri="{FF2B5EF4-FFF2-40B4-BE49-F238E27FC236}">
                      <a16:creationId xmlns:a16="http://schemas.microsoft.com/office/drawing/2014/main" id="{03C0B85D-C9A8-41AE-99E9-216A28293B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109026"/>
                  <a:ext cx="537983" cy="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>
                  <a:extLst>
                    <a:ext uri="{FF2B5EF4-FFF2-40B4-BE49-F238E27FC236}">
                      <a16:creationId xmlns:a16="http://schemas.microsoft.com/office/drawing/2014/main" id="{2E8168D2-FF9E-4015-A3F2-0D98F949BA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096533"/>
                  <a:ext cx="0" cy="30385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079BB37A-49F9-447C-A40A-01D13BD48AD8}"/>
                  </a:ext>
                </a:extLst>
              </p:cNvPr>
              <p:cNvGrpSpPr/>
              <p:nvPr/>
            </p:nvGrpSpPr>
            <p:grpSpPr>
              <a:xfrm>
                <a:off x="7223299" y="2470389"/>
                <a:ext cx="1686327" cy="1740040"/>
                <a:chOff x="4671007" y="1990430"/>
                <a:chExt cx="4144737" cy="4276762"/>
              </a:xfrm>
            </p:grpSpPr>
            <p:cxnSp>
              <p:nvCxnSpPr>
                <p:cNvPr id="29" name="Gerader Verbinder 28">
                  <a:extLst>
                    <a:ext uri="{FF2B5EF4-FFF2-40B4-BE49-F238E27FC236}">
                      <a16:creationId xmlns:a16="http://schemas.microsoft.com/office/drawing/2014/main" id="{976CDD7B-5570-468B-B2E5-93464FEF59CC}"/>
                    </a:ext>
                  </a:extLst>
                </p:cNvPr>
                <p:cNvCxnSpPr/>
                <p:nvPr/>
              </p:nvCxnSpPr>
              <p:spPr>
                <a:xfrm>
                  <a:off x="5286493" y="1990430"/>
                  <a:ext cx="0" cy="3600400"/>
                </a:xfrm>
                <a:prstGeom prst="line">
                  <a:avLst/>
                </a:prstGeom>
                <a:ln w="38100">
                  <a:headEnd type="triangl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Gerader Verbinder 29">
                  <a:extLst>
                    <a:ext uri="{FF2B5EF4-FFF2-40B4-BE49-F238E27FC236}">
                      <a16:creationId xmlns:a16="http://schemas.microsoft.com/office/drawing/2014/main" id="{53279463-8A61-482B-B625-F91552C78DA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>
                  <a:off x="6942677" y="3700379"/>
                  <a:ext cx="0" cy="3600400"/>
                </a:xfrm>
                <a:prstGeom prst="line">
                  <a:avLst/>
                </a:prstGeom>
                <a:ln w="38100">
                  <a:headEnd type="none" w="med" len="med"/>
                  <a:tailEnd type="triangle" w="med" len="med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D0AB3E64-4819-4FEA-9070-BC1E2201EFF6}"/>
                    </a:ext>
                  </a:extLst>
                </p:cNvPr>
                <p:cNvSpPr txBox="1"/>
                <p:nvPr/>
              </p:nvSpPr>
              <p:spPr>
                <a:xfrm>
                  <a:off x="5991133" y="5586999"/>
                  <a:ext cx="2824611" cy="680193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enge [MWh]</a:t>
                  </a:r>
                </a:p>
              </p:txBody>
            </p:sp>
            <p:sp>
              <p:nvSpPr>
                <p:cNvPr id="32" name="Textfeld 31">
                  <a:extLst>
                    <a:ext uri="{FF2B5EF4-FFF2-40B4-BE49-F238E27FC236}">
                      <a16:creationId xmlns:a16="http://schemas.microsoft.com/office/drawing/2014/main" id="{7C096813-E7AD-453C-AA61-9AD0AF7449E1}"/>
                    </a:ext>
                  </a:extLst>
                </p:cNvPr>
                <p:cNvSpPr txBox="1"/>
                <p:nvPr/>
              </p:nvSpPr>
              <p:spPr>
                <a:xfrm rot="16200000">
                  <a:off x="3595920" y="3224569"/>
                  <a:ext cx="2830366" cy="680192"/>
                </a:xfrm>
                <a:prstGeom prst="rect">
                  <a:avLst/>
                </a:prstGeom>
                <a:noFill/>
                <a:ln>
                  <a:noFill/>
                  <a:prstDash val="solid"/>
                </a:ln>
              </p:spPr>
              <p:txBody>
                <a:bodyPr wrap="square" rtlCol="0">
                  <a:spAutoFit/>
                </a:bodyPr>
                <a:lstStyle/>
                <a:p>
                  <a:pPr eaLnBrk="1" fontAlgn="auto" hangingPunct="1"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accent2">
                        <a:lumMod val="50000"/>
                      </a:schemeClr>
                    </a:buClr>
                    <a:buSzPct val="110000"/>
                  </a:pPr>
                  <a:r>
                    <a:rPr lang="de-DE" sz="700" kern="0" dirty="0">
                      <a:solidFill>
                        <a:sysClr val="windowText" lastClr="000000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Preis [€/MWh]</a:t>
                  </a:r>
                </a:p>
              </p:txBody>
            </p:sp>
            <p:sp>
              <p:nvSpPr>
                <p:cNvPr id="33" name="Ellipse 32">
                  <a:extLst>
                    <a:ext uri="{FF2B5EF4-FFF2-40B4-BE49-F238E27FC236}">
                      <a16:creationId xmlns:a16="http://schemas.microsoft.com/office/drawing/2014/main" id="{18ABC3DE-D9FD-4B5C-A553-B0FF520C0D3A}"/>
                    </a:ext>
                  </a:extLst>
                </p:cNvPr>
                <p:cNvSpPr/>
                <p:nvPr/>
              </p:nvSpPr>
              <p:spPr>
                <a:xfrm>
                  <a:off x="7918956" y="2400391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34" name="Gerader Verbinder 33">
                  <a:extLst>
                    <a:ext uri="{FF2B5EF4-FFF2-40B4-BE49-F238E27FC236}">
                      <a16:creationId xmlns:a16="http://schemas.microsoft.com/office/drawing/2014/main" id="{87FAD14F-0D42-498E-B4CF-666498CA6A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286493" y="2400392"/>
                  <a:ext cx="1215389" cy="3058525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Gerader Verbinder 34">
                  <a:extLst>
                    <a:ext uri="{FF2B5EF4-FFF2-40B4-BE49-F238E27FC236}">
                      <a16:creationId xmlns:a16="http://schemas.microsoft.com/office/drawing/2014/main" id="{9E9F1CA9-E432-4E05-877C-595FE5468359}"/>
                    </a:ext>
                  </a:extLst>
                </p:cNvPr>
                <p:cNvCxnSpPr>
                  <a:cxnSpLocks/>
                  <a:stCxn id="33" idx="2"/>
                </p:cNvCxnSpPr>
                <p:nvPr/>
              </p:nvCxnSpPr>
              <p:spPr>
                <a:xfrm flipH="1" flipV="1">
                  <a:off x="6501882" y="2418487"/>
                  <a:ext cx="1417074" cy="17903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sp>
              <p:nvSpPr>
                <p:cNvPr id="36" name="Ellipse 35">
                  <a:extLst>
                    <a:ext uri="{FF2B5EF4-FFF2-40B4-BE49-F238E27FC236}">
                      <a16:creationId xmlns:a16="http://schemas.microsoft.com/office/drawing/2014/main" id="{A33F2DCB-5E83-4788-9AF1-8B03B4ED5724}"/>
                    </a:ext>
                  </a:extLst>
                </p:cNvPr>
                <p:cNvSpPr/>
                <p:nvPr/>
              </p:nvSpPr>
              <p:spPr>
                <a:xfrm>
                  <a:off x="8492939" y="2077485"/>
                  <a:ext cx="72000" cy="7200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050"/>
                </a:p>
              </p:txBody>
            </p:sp>
            <p:cxnSp>
              <p:nvCxnSpPr>
                <p:cNvPr id="37" name="Gerader Verbinder 36">
                  <a:extLst>
                    <a:ext uri="{FF2B5EF4-FFF2-40B4-BE49-F238E27FC236}">
                      <a16:creationId xmlns:a16="http://schemas.microsoft.com/office/drawing/2014/main" id="{9781AACE-5F53-4F5C-8A36-260454232F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109026"/>
                  <a:ext cx="537983" cy="1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r Verbinder 37">
                  <a:extLst>
                    <a:ext uri="{FF2B5EF4-FFF2-40B4-BE49-F238E27FC236}">
                      <a16:creationId xmlns:a16="http://schemas.microsoft.com/office/drawing/2014/main" id="{9E574487-E7C5-406B-9BDB-7B2392A72A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954956" y="2096533"/>
                  <a:ext cx="0" cy="303858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6"/>
                </a:lnRef>
                <a:fillRef idx="0">
                  <a:schemeClr val="accent6"/>
                </a:fillRef>
                <a:effectRef idx="0">
                  <a:schemeClr val="accent6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1121D9D9-B738-4C73-B0CC-C6A988D1262E}"/>
                  </a:ext>
                </a:extLst>
              </p:cNvPr>
              <p:cNvSpPr txBox="1"/>
              <p:nvPr/>
            </p:nvSpPr>
            <p:spPr>
              <a:xfrm>
                <a:off x="3735344" y="3631006"/>
                <a:ext cx="763260" cy="27674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7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efault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6C480115-2AA5-47FA-9D8E-04D6309AF78F}"/>
                  </a:ext>
                </a:extLst>
              </p:cNvPr>
              <p:cNvSpPr txBox="1"/>
              <p:nvPr/>
            </p:nvSpPr>
            <p:spPr>
              <a:xfrm>
                <a:off x="5464986" y="3621782"/>
                <a:ext cx="1266628" cy="276743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7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Zurückhaltend</a:t>
                </a:r>
              </a:p>
            </p:txBody>
          </p:sp>
          <p:cxnSp>
            <p:nvCxnSpPr>
              <p:cNvPr id="24" name="Gerader Verbinder 23">
                <a:extLst>
                  <a:ext uri="{FF2B5EF4-FFF2-40B4-BE49-F238E27FC236}">
                    <a16:creationId xmlns:a16="http://schemas.microsoft.com/office/drawing/2014/main" id="{DBEDC825-F995-441D-9545-BE6FE8D1A9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71864" y="1988840"/>
                <a:ext cx="0" cy="2136852"/>
              </a:xfrm>
              <a:prstGeom prst="line">
                <a:avLst/>
              </a:prstGeom>
              <a:ln w="952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5" name="Gerader Verbinder 24">
                <a:extLst>
                  <a:ext uri="{FF2B5EF4-FFF2-40B4-BE49-F238E27FC236}">
                    <a16:creationId xmlns:a16="http://schemas.microsoft.com/office/drawing/2014/main" id="{4881D69F-8D99-41A7-882B-AF4501E2A4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32104" y="1988840"/>
                <a:ext cx="0" cy="2136852"/>
              </a:xfrm>
              <a:prstGeom prst="line">
                <a:avLst/>
              </a:prstGeom>
              <a:ln w="952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6" name="Gerader Verbinder 25">
                <a:extLst>
                  <a:ext uri="{FF2B5EF4-FFF2-40B4-BE49-F238E27FC236}">
                    <a16:creationId xmlns:a16="http://schemas.microsoft.com/office/drawing/2014/main" id="{DCFFB6B7-4B82-4048-BF73-A89CF10966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99656" y="2315534"/>
                <a:ext cx="5976664" cy="0"/>
              </a:xfrm>
              <a:prstGeom prst="line">
                <a:avLst/>
              </a:prstGeom>
              <a:ln w="9525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3529F44E-779D-4A3D-9630-3EBB114F8F7C}"/>
                  </a:ext>
                </a:extLst>
              </p:cNvPr>
              <p:cNvSpPr txBox="1"/>
              <p:nvPr/>
            </p:nvSpPr>
            <p:spPr>
              <a:xfrm>
                <a:off x="5595819" y="2041468"/>
                <a:ext cx="1004965" cy="31931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ktion 2</a:t>
                </a: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AF3B5FD-3335-4172-B223-371034662D4C}"/>
                  </a:ext>
                </a:extLst>
              </p:cNvPr>
              <p:cNvSpPr txBox="1"/>
              <p:nvPr/>
            </p:nvSpPr>
            <p:spPr>
              <a:xfrm>
                <a:off x="7765591" y="2038210"/>
                <a:ext cx="1004965" cy="319318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9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ktion 3</a:t>
                </a:r>
              </a:p>
            </p:txBody>
          </p:sp>
        </p:grp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60D2278-4D75-40F8-9460-694329C98E43}"/>
                </a:ext>
              </a:extLst>
            </p:cNvPr>
            <p:cNvSpPr txBox="1"/>
            <p:nvPr/>
          </p:nvSpPr>
          <p:spPr>
            <a:xfrm>
              <a:off x="7788373" y="3622263"/>
              <a:ext cx="936223" cy="27674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non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7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gressiv</a:t>
              </a:r>
            </a:p>
          </p:txBody>
        </p:sp>
      </p:grpSp>
      <p:pic>
        <p:nvPicPr>
          <p:cNvPr id="61" name="Grafik 60" descr="Angebot und Nachfrage">
            <a:extLst>
              <a:ext uri="{FF2B5EF4-FFF2-40B4-BE49-F238E27FC236}">
                <a16:creationId xmlns:a16="http://schemas.microsoft.com/office/drawing/2014/main" id="{7D510FF6-B7AB-49B4-AEC4-2014AB9419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28526" y="3853873"/>
            <a:ext cx="974003" cy="97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9396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86A0FE28-7F8E-4236-ABC9-938EABF1FDA7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8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Im Gegensatz zu den bereits vorgestellten Agenten hat die Stromnachfrage keine Vermarktungsstrategie und ist eher rudimentär implementiert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DEM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 err="1"/>
                <a:t>DayAhead</a:t>
              </a:r>
              <a:r>
                <a:rPr lang="de-DE" sz="1400" b="1" dirty="0"/>
                <a:t> Markt</a:t>
              </a:r>
            </a:p>
          </p:txBody>
        </p:sp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Ökon. Kenngrößen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32328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. &amp; ökon.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31837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uschläg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e Stunde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5446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erbuch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851441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4201EBA-10A1-43F3-8E3F-90D960B9F44D}"/>
              </a:ext>
            </a:extLst>
          </p:cNvPr>
          <p:cNvSpPr/>
          <p:nvPr/>
        </p:nvSpPr>
        <p:spPr>
          <a:xfrm>
            <a:off x="1746201" y="4833568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0" name="Grafik 34" descr="Solarmodule">
            <a:extLst>
              <a:ext uri="{FF2B5EF4-FFF2-40B4-BE49-F238E27FC236}">
                <a16:creationId xmlns:a16="http://schemas.microsoft.com/office/drawing/2014/main" id="{912E5A59-4C45-4097-B862-43670DADD50B}"/>
              </a:ext>
            </a:extLst>
          </p:cNvPr>
          <p:cNvGrpSpPr/>
          <p:nvPr/>
        </p:nvGrpSpPr>
        <p:grpSpPr>
          <a:xfrm>
            <a:off x="2155548" y="4771311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8326FB13-9962-4DFF-B365-1408502F4783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EC6E9B7C-CE28-47C9-AFA2-83261E36879D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4CB1F17C-E747-4F36-80F5-8CA1FEB60BD5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660A4B94-7AEF-46B0-A993-C1B24CC0C0B1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7B0C58F2-2FD8-4E7C-A1C3-E7DDBBC160B6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011C14B-3476-4E66-B8E9-8C9E9189ADA0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4CDDC6F-2E1E-4782-8D22-4FB33ED62C21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EB04BC9-DD5C-40B1-B18E-0DA67A82218E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89A01095-3A49-4BCB-868A-8CDE571F98D3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BB11BC01-0629-4851-BE35-B30E3F447A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7B011D5E-8713-49EC-9B8C-709E7E09BE4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E54167DD-D8F6-48F7-BF60-CD7CB2CA2803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FFCD7CA4-FD82-40BD-8F8D-117E5CE237EE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3598EB04-2DD0-4B2C-81B8-14811DCD08AF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C7BB7BF-B5B5-46CF-84C6-3DE1A1515DF2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E6559961-126F-400E-851B-EA37D7A28CCC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5929441-958C-49E8-9C9A-D1F1A122594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E60F2666-ED64-4C44-96F9-629EAD169635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EF42142C-90D1-4718-B795-A2C8591229D9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8" name="Freihandform: Form 97">
            <a:extLst>
              <a:ext uri="{FF2B5EF4-FFF2-40B4-BE49-F238E27FC236}">
                <a16:creationId xmlns:a16="http://schemas.microsoft.com/office/drawing/2014/main" id="{84D3259D-5EB0-47FC-BF69-82DF5460167A}"/>
              </a:ext>
            </a:extLst>
          </p:cNvPr>
          <p:cNvSpPr/>
          <p:nvPr/>
        </p:nvSpPr>
        <p:spPr>
          <a:xfrm>
            <a:off x="1721497" y="2845835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99" name="Grafik 34" descr="Solarmodule">
            <a:extLst>
              <a:ext uri="{FF2B5EF4-FFF2-40B4-BE49-F238E27FC236}">
                <a16:creationId xmlns:a16="http://schemas.microsoft.com/office/drawing/2014/main" id="{64C289D4-6938-46CD-BB57-CBA2A39FA625}"/>
              </a:ext>
            </a:extLst>
          </p:cNvPr>
          <p:cNvGrpSpPr/>
          <p:nvPr/>
        </p:nvGrpSpPr>
        <p:grpSpPr>
          <a:xfrm>
            <a:off x="2130844" y="2783578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13374307-746C-474B-9B18-2FC753ACA60D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31D5180A-29FB-4C13-BD8B-7EAE99FB49A8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EBE8B4B2-5763-43BE-BC07-04443D46B609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FED9C243-4E3A-4E14-8D34-15786A1F9A10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F3A5ADB7-3C50-45CA-A949-F2A55BF7B37F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DF59D468-55C1-4D8B-A2F1-73E240493125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4B875AD4-886B-4B08-904D-D721EF158846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5F7B7C37-1627-40DC-B6AF-A7E4AA256D6F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72A1C3E1-1FB1-4BAF-ADEA-15E6FAC2D88E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823C4884-5013-4B7E-B572-9437ECFD7331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C0F618DC-7701-4A5C-816E-177AC65009E4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25CD7CD9-2045-45F3-ADCF-18BDFA1B8089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51975419-B5E7-4C13-890C-0FD110B6B641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DDB8FC39-AECE-4AE1-8845-B06F90401130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70982BFE-B89C-4836-A139-3CCA58B995C3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F425B63B-2D76-4947-906D-14304B99DDED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1D153F5-C6DE-48CD-A9D0-1F5B6BBBD400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0A6BB9A3-C3C3-4C01-849F-4BD176937CDF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394E0604-FA9C-495C-A677-E35F5CE3A6D6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19" name="Freihandform: Form 118">
            <a:extLst>
              <a:ext uri="{FF2B5EF4-FFF2-40B4-BE49-F238E27FC236}">
                <a16:creationId xmlns:a16="http://schemas.microsoft.com/office/drawing/2014/main" id="{F47013A5-3A51-42AF-9651-327EB80378A5}"/>
              </a:ext>
            </a:extLst>
          </p:cNvPr>
          <p:cNvSpPr/>
          <p:nvPr/>
        </p:nvSpPr>
        <p:spPr>
          <a:xfrm>
            <a:off x="2873295" y="2628354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20" name="Grafik 34" descr="Solarmodule">
            <a:extLst>
              <a:ext uri="{FF2B5EF4-FFF2-40B4-BE49-F238E27FC236}">
                <a16:creationId xmlns:a16="http://schemas.microsoft.com/office/drawing/2014/main" id="{9955A1B5-47A2-4EB4-8BD0-C7E03DE2752E}"/>
              </a:ext>
            </a:extLst>
          </p:cNvPr>
          <p:cNvGrpSpPr/>
          <p:nvPr/>
        </p:nvGrpSpPr>
        <p:grpSpPr>
          <a:xfrm>
            <a:off x="2881121" y="3450317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6FAF22B7-2193-475E-994E-C492936C6582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BB697906-4A47-4A26-9921-F3313FEEBD75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44ECE984-5013-45EF-8AE8-AF348DDBFFAE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92B9036C-39C8-4F76-B486-5024C4ECE20D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BF2BB838-B8BE-4736-AECE-48708B34DDF5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32F136DD-CF6C-4A6C-83C6-CC32CAC244FA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FA2CEC6A-7AE8-4058-BF5B-93F6EA82C324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DDFB201D-8686-4653-BA25-EDCA9581236B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87381DA7-83A8-46F7-A6E0-970B5309B6C2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8FB5E3AB-1731-460E-95A9-64945FD21F2F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64B6D0A3-BBAA-47AF-B14E-A2461E457603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6436198E-98E5-482E-9C11-4406CD24F502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E8492D42-4B57-4C78-86A2-50CA37F3CB35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E730E835-6F37-47E0-95D3-E8B6B1A12971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03E98A9E-09D3-4B98-8C1B-28DFA83DE3B8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31D6BE70-D2CD-407B-95EC-B627CE9FA20A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B526E99D-2796-4D4F-95B4-1D541B7DCA7E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52236FD4-DE95-419E-BB93-E254842404E6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E7946645-2304-4A01-9E60-7DA8F9144100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ECEF038-1FE1-47F9-99BF-A688981E12F6}"/>
              </a:ext>
            </a:extLst>
          </p:cNvPr>
          <p:cNvSpPr/>
          <p:nvPr/>
        </p:nvSpPr>
        <p:spPr>
          <a:xfrm>
            <a:off x="2463009" y="3560534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15" name="Grafik 14" descr="Thermometer">
            <a:extLst>
              <a:ext uri="{FF2B5EF4-FFF2-40B4-BE49-F238E27FC236}">
                <a16:creationId xmlns:a16="http://schemas.microsoft.com/office/drawing/2014/main" id="{1A9AA56C-3D34-4166-8C3C-C5D59A738A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47767" y="4828657"/>
            <a:ext cx="457200" cy="457200"/>
          </a:xfrm>
          <a:prstGeom prst="rect">
            <a:avLst/>
          </a:prstGeom>
        </p:spPr>
      </p:pic>
      <p:pic>
        <p:nvPicPr>
          <p:cNvPr id="17" name="Grafik 16" descr="Produktion">
            <a:extLst>
              <a:ext uri="{FF2B5EF4-FFF2-40B4-BE49-F238E27FC236}">
                <a16:creationId xmlns:a16="http://schemas.microsoft.com/office/drawing/2014/main" id="{928FF8F8-539C-47DC-A633-3C58FA1227F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14766" y="4116387"/>
            <a:ext cx="533097" cy="533097"/>
          </a:xfrm>
          <a:prstGeom prst="rect">
            <a:avLst/>
          </a:prstGeom>
        </p:spPr>
      </p:pic>
      <p:pic>
        <p:nvPicPr>
          <p:cNvPr id="19" name="Grafik 18" descr="Einkaufskorb">
            <a:extLst>
              <a:ext uri="{FF2B5EF4-FFF2-40B4-BE49-F238E27FC236}">
                <a16:creationId xmlns:a16="http://schemas.microsoft.com/office/drawing/2014/main" id="{1694F869-D80C-4C8D-8CA2-1E93B99F754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26566" y="4205527"/>
            <a:ext cx="477658" cy="477658"/>
          </a:xfrm>
          <a:prstGeom prst="rect">
            <a:avLst/>
          </a:prstGeom>
        </p:spPr>
      </p:pic>
      <p:pic>
        <p:nvPicPr>
          <p:cNvPr id="21" name="Grafik 20" descr="Voller Akku">
            <a:extLst>
              <a:ext uri="{FF2B5EF4-FFF2-40B4-BE49-F238E27FC236}">
                <a16:creationId xmlns:a16="http://schemas.microsoft.com/office/drawing/2014/main" id="{2F81FEA5-377B-426B-AFDC-9F483CC680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42564" y="3560869"/>
            <a:ext cx="454133" cy="454133"/>
          </a:xfrm>
          <a:prstGeom prst="rect">
            <a:avLst/>
          </a:prstGeom>
        </p:spPr>
      </p:pic>
      <p:pic>
        <p:nvPicPr>
          <p:cNvPr id="3" name="Grafik 2" descr="Angebot und Nachfrage">
            <a:extLst>
              <a:ext uri="{FF2B5EF4-FFF2-40B4-BE49-F238E27FC236}">
                <a16:creationId xmlns:a16="http://schemas.microsoft.com/office/drawing/2014/main" id="{DF896179-32FA-41FE-B494-C8EDE0702E7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30524" y="3234811"/>
            <a:ext cx="1289743" cy="1289743"/>
          </a:xfrm>
          <a:prstGeom prst="rect">
            <a:avLst/>
          </a:prstGeom>
        </p:spPr>
      </p:pic>
      <p:sp>
        <p:nvSpPr>
          <p:cNvPr id="8" name="Pfeil: 180-Grad 7">
            <a:extLst>
              <a:ext uri="{FF2B5EF4-FFF2-40B4-BE49-F238E27FC236}">
                <a16:creationId xmlns:a16="http://schemas.microsoft.com/office/drawing/2014/main" id="{F8C15502-E4E3-4180-BF85-2E85D4C6C046}"/>
              </a:ext>
            </a:extLst>
          </p:cNvPr>
          <p:cNvSpPr/>
          <p:nvPr/>
        </p:nvSpPr>
        <p:spPr>
          <a:xfrm rot="16200000">
            <a:off x="3899178" y="3438713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9" name="Pfeil: 180-Grad 8">
            <a:extLst>
              <a:ext uri="{FF2B5EF4-FFF2-40B4-BE49-F238E27FC236}">
                <a16:creationId xmlns:a16="http://schemas.microsoft.com/office/drawing/2014/main" id="{1F42A20A-E407-42C2-8FD4-17E73ECC3E24}"/>
              </a:ext>
            </a:extLst>
          </p:cNvPr>
          <p:cNvSpPr/>
          <p:nvPr/>
        </p:nvSpPr>
        <p:spPr>
          <a:xfrm rot="5400000">
            <a:off x="7427570" y="3500156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7ABDDBC-7AF2-48D9-8DF4-67460023616D}"/>
              </a:ext>
            </a:extLst>
          </p:cNvPr>
          <p:cNvSpPr/>
          <p:nvPr/>
        </p:nvSpPr>
        <p:spPr>
          <a:xfrm>
            <a:off x="1692657" y="4749212"/>
            <a:ext cx="1272738" cy="573150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805714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2F4137A-C507-4557-91DA-63DFB754F46E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49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einfachste Form des Prosumers ist die Klasse PV-Solo, die einen einfachen Haushaltskunden mit einer PV-Anlage abbilde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Eingangsgrößen</a:t>
            </a:r>
          </a:p>
          <a:p>
            <a:r>
              <a:rPr lang="de-DE" sz="1400" dirty="0"/>
              <a:t>Datum</a:t>
            </a:r>
          </a:p>
          <a:p>
            <a:pPr lvl="1"/>
            <a:r>
              <a:rPr lang="de-DE" sz="1200" dirty="0"/>
              <a:t>Um den stündlichen Verbrauch zu berechnen, wird ein </a:t>
            </a:r>
            <a:r>
              <a:rPr lang="de-DE" sz="1200" b="1" dirty="0"/>
              <a:t>SLP-Generator</a:t>
            </a:r>
            <a:r>
              <a:rPr lang="de-DE" sz="1200" dirty="0"/>
              <a:t> verwendet, der als Eingangsgröße ein Datum benötigt.</a:t>
            </a:r>
          </a:p>
          <a:p>
            <a:endParaRPr lang="de-DE" sz="1400" dirty="0"/>
          </a:p>
          <a:p>
            <a:r>
              <a:rPr lang="de-DE" sz="1400" dirty="0"/>
              <a:t>Wetter zur Berechnung der Einspeisung</a:t>
            </a:r>
          </a:p>
          <a:p>
            <a:pPr lvl="1"/>
            <a:r>
              <a:rPr lang="de-DE" sz="1200" b="1" dirty="0"/>
              <a:t>Windgeschwindigkeit</a:t>
            </a:r>
            <a:r>
              <a:rPr lang="de-DE" sz="1200" dirty="0"/>
              <a:t> [m/s]</a:t>
            </a:r>
          </a:p>
          <a:p>
            <a:pPr lvl="1"/>
            <a:r>
              <a:rPr lang="de-DE" sz="1200" b="1" dirty="0"/>
              <a:t>Temperatur</a:t>
            </a:r>
            <a:r>
              <a:rPr lang="de-DE" sz="1200" dirty="0"/>
              <a:t> [°C]</a:t>
            </a:r>
          </a:p>
          <a:p>
            <a:pPr lvl="1"/>
            <a:r>
              <a:rPr lang="de-DE" sz="1200" b="1" dirty="0"/>
              <a:t>Globalstrahlung</a:t>
            </a:r>
            <a:r>
              <a:rPr lang="de-DE" sz="1200" dirty="0"/>
              <a:t> [W/m²]</a:t>
            </a:r>
            <a:endParaRPr lang="de-DE" sz="1400" dirty="0"/>
          </a:p>
          <a:p>
            <a:endParaRPr lang="de-DE" sz="1400" dirty="0"/>
          </a:p>
          <a:p>
            <a:endParaRPr lang="de-DE" sz="1400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84D0BD1-183B-4850-BF2C-8693FF08ADB7}"/>
              </a:ext>
            </a:extLst>
          </p:cNvPr>
          <p:cNvGrpSpPr/>
          <p:nvPr/>
        </p:nvGrpSpPr>
        <p:grpSpPr>
          <a:xfrm>
            <a:off x="525285" y="2489560"/>
            <a:ext cx="6432094" cy="2959547"/>
            <a:chOff x="525285" y="2489560"/>
            <a:chExt cx="6432094" cy="2959547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65E1D83F-CCE9-4BE8-B470-250B71BDA70E}"/>
                </a:ext>
              </a:extLst>
            </p:cNvPr>
            <p:cNvGrpSpPr/>
            <p:nvPr/>
          </p:nvGrpSpPr>
          <p:grpSpPr>
            <a:xfrm>
              <a:off x="525285" y="2489560"/>
              <a:ext cx="6432094" cy="2959547"/>
              <a:chOff x="2679113" y="2303880"/>
              <a:chExt cx="6432094" cy="2959547"/>
            </a:xfrm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EC7C5B78-D973-4C23-9FA9-A71A2C495D64}"/>
                  </a:ext>
                </a:extLst>
              </p:cNvPr>
              <p:cNvSpPr/>
              <p:nvPr/>
            </p:nvSpPr>
            <p:spPr>
              <a:xfrm rot="16200000">
                <a:off x="3038071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V-Solo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ig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Ausrich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Jahresstromverbrauch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18E2B1B4-AF61-4649-9024-FCE917B6A0F9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892552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</p:txBody>
          </p: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011350D6-7278-48FD-BCF8-CD5AF416BD86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25" name="Pfeil: nach oben 24">
                <a:extLst>
                  <a:ext uri="{FF2B5EF4-FFF2-40B4-BE49-F238E27FC236}">
                    <a16:creationId xmlns:a16="http://schemas.microsoft.com/office/drawing/2014/main" id="{74D61165-8F1F-4218-AFAE-E6281D7F47BB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6" name="Pfeil: nach oben 25">
                <a:extLst>
                  <a:ext uri="{FF2B5EF4-FFF2-40B4-BE49-F238E27FC236}">
                    <a16:creationId xmlns:a16="http://schemas.microsoft.com/office/drawing/2014/main" id="{091C1A7F-1738-49CA-859B-5CE00DE13BF6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5B0391FB-4092-4205-9852-09A27C92F9A8}"/>
                </a:ext>
              </a:extLst>
            </p:cNvPr>
            <p:cNvSpPr/>
            <p:nvPr/>
          </p:nvSpPr>
          <p:spPr>
            <a:xfrm>
              <a:off x="3215680" y="2583333"/>
              <a:ext cx="432048" cy="382694"/>
            </a:xfrm>
            <a:custGeom>
              <a:avLst/>
              <a:gdLst>
                <a:gd name="connsiteX0" fmla="*/ 632774 w 789298"/>
                <a:gd name="connsiteY0" fmla="*/ 51225 h 699134"/>
                <a:gd name="connsiteX1" fmla="*/ 537524 w 789298"/>
                <a:gd name="connsiteY1" fmla="*/ 51225 h 699134"/>
                <a:gd name="connsiteX2" fmla="*/ 537524 w 789298"/>
                <a:gd name="connsiteY2" fmla="*/ 135693 h 699134"/>
                <a:gd name="connsiteX3" fmla="*/ 394649 w 789298"/>
                <a:gd name="connsiteY3" fmla="*/ 0 h 699134"/>
                <a:gd name="connsiteX4" fmla="*/ 0 w 789298"/>
                <a:gd name="connsiteY4" fmla="*/ 374885 h 699134"/>
                <a:gd name="connsiteX5" fmla="*/ 61808 w 789298"/>
                <a:gd name="connsiteY5" fmla="*/ 436683 h 699134"/>
                <a:gd name="connsiteX6" fmla="*/ 108899 w 789298"/>
                <a:gd name="connsiteY6" fmla="*/ 392087 h 699134"/>
                <a:gd name="connsiteX7" fmla="*/ 108899 w 789298"/>
                <a:gd name="connsiteY7" fmla="*/ 698906 h 699134"/>
                <a:gd name="connsiteX8" fmla="*/ 347024 w 789298"/>
                <a:gd name="connsiteY8" fmla="*/ 699002 h 699134"/>
                <a:gd name="connsiteX9" fmla="*/ 347024 w 789298"/>
                <a:gd name="connsiteY9" fmla="*/ 460953 h 699134"/>
                <a:gd name="connsiteX10" fmla="*/ 442274 w 789298"/>
                <a:gd name="connsiteY10" fmla="*/ 460953 h 699134"/>
                <a:gd name="connsiteX11" fmla="*/ 442274 w 789298"/>
                <a:gd name="connsiteY11" fmla="*/ 699078 h 699134"/>
                <a:gd name="connsiteX12" fmla="*/ 680399 w 789298"/>
                <a:gd name="connsiteY12" fmla="*/ 699135 h 699134"/>
                <a:gd name="connsiteX13" fmla="*/ 680399 w 789298"/>
                <a:gd name="connsiteY13" fmla="*/ 391687 h 699134"/>
                <a:gd name="connsiteX14" fmla="*/ 727729 w 789298"/>
                <a:gd name="connsiteY14" fmla="*/ 436455 h 699134"/>
                <a:gd name="connsiteX15" fmla="*/ 789299 w 789298"/>
                <a:gd name="connsiteY15" fmla="*/ 374894 h 699134"/>
                <a:gd name="connsiteX16" fmla="*/ 632774 w 789298"/>
                <a:gd name="connsiteY16" fmla="*/ 226181 h 699134"/>
                <a:gd name="connsiteX17" fmla="*/ 556574 w 789298"/>
                <a:gd name="connsiteY17" fmla="*/ 70275 h 699134"/>
                <a:gd name="connsiteX18" fmla="*/ 613724 w 789298"/>
                <a:gd name="connsiteY18" fmla="*/ 70275 h 699134"/>
                <a:gd name="connsiteX19" fmla="*/ 613724 w 789298"/>
                <a:gd name="connsiteY19" fmla="*/ 208083 h 699134"/>
                <a:gd name="connsiteX20" fmla="*/ 556574 w 789298"/>
                <a:gd name="connsiteY20" fmla="*/ 153791 h 699134"/>
                <a:gd name="connsiteX21" fmla="*/ 661349 w 789298"/>
                <a:gd name="connsiteY21" fmla="*/ 680085 h 699134"/>
                <a:gd name="connsiteX22" fmla="*/ 461324 w 789298"/>
                <a:gd name="connsiteY22" fmla="*/ 679999 h 699134"/>
                <a:gd name="connsiteX23" fmla="*/ 461324 w 789298"/>
                <a:gd name="connsiteY23" fmla="*/ 441874 h 699134"/>
                <a:gd name="connsiteX24" fmla="*/ 327974 w 789298"/>
                <a:gd name="connsiteY24" fmla="*/ 441874 h 699134"/>
                <a:gd name="connsiteX25" fmla="*/ 327974 w 789298"/>
                <a:gd name="connsiteY25" fmla="*/ 679942 h 699134"/>
                <a:gd name="connsiteX26" fmla="*/ 127949 w 789298"/>
                <a:gd name="connsiteY26" fmla="*/ 679866 h 699134"/>
                <a:gd name="connsiteX27" fmla="*/ 127949 w 789298"/>
                <a:gd name="connsiteY27" fmla="*/ 374047 h 699134"/>
                <a:gd name="connsiteX28" fmla="*/ 394649 w 789298"/>
                <a:gd name="connsiteY28" fmla="*/ 121482 h 699134"/>
                <a:gd name="connsiteX29" fmla="*/ 661349 w 789298"/>
                <a:gd name="connsiteY29" fmla="*/ 373675 h 699134"/>
                <a:gd name="connsiteX30" fmla="*/ 62160 w 789298"/>
                <a:gd name="connsiteY30" fmla="*/ 410108 h 699134"/>
                <a:gd name="connsiteX31" fmla="*/ 27299 w 789298"/>
                <a:gd name="connsiteY31" fmla="*/ 375285 h 699134"/>
                <a:gd name="connsiteX32" fmla="*/ 394649 w 789298"/>
                <a:gd name="connsiteY32" fmla="*/ 26251 h 699134"/>
                <a:gd name="connsiteX33" fmla="*/ 762000 w 789298"/>
                <a:gd name="connsiteY33" fmla="*/ 375285 h 699134"/>
                <a:gd name="connsiteX34" fmla="*/ 727358 w 789298"/>
                <a:gd name="connsiteY34" fmla="*/ 409880 h 699134"/>
                <a:gd name="connsiteX35" fmla="*/ 394649 w 789298"/>
                <a:gd name="connsiteY35" fmla="*/ 95250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89298" h="699134">
                  <a:moveTo>
                    <a:pt x="632774" y="51225"/>
                  </a:moveTo>
                  <a:lnTo>
                    <a:pt x="537524" y="51225"/>
                  </a:lnTo>
                  <a:lnTo>
                    <a:pt x="537524" y="135693"/>
                  </a:lnTo>
                  <a:lnTo>
                    <a:pt x="394649" y="0"/>
                  </a:lnTo>
                  <a:lnTo>
                    <a:pt x="0" y="374885"/>
                  </a:lnTo>
                  <a:lnTo>
                    <a:pt x="61808" y="436683"/>
                  </a:lnTo>
                  <a:lnTo>
                    <a:pt x="108899" y="392087"/>
                  </a:lnTo>
                  <a:lnTo>
                    <a:pt x="108899" y="698906"/>
                  </a:lnTo>
                  <a:lnTo>
                    <a:pt x="347024" y="699002"/>
                  </a:lnTo>
                  <a:lnTo>
                    <a:pt x="347024" y="460953"/>
                  </a:lnTo>
                  <a:lnTo>
                    <a:pt x="442274" y="460953"/>
                  </a:lnTo>
                  <a:lnTo>
                    <a:pt x="442274" y="699078"/>
                  </a:lnTo>
                  <a:lnTo>
                    <a:pt x="680399" y="699135"/>
                  </a:lnTo>
                  <a:lnTo>
                    <a:pt x="680399" y="391687"/>
                  </a:lnTo>
                  <a:lnTo>
                    <a:pt x="727729" y="436455"/>
                  </a:lnTo>
                  <a:lnTo>
                    <a:pt x="789299" y="374894"/>
                  </a:lnTo>
                  <a:lnTo>
                    <a:pt x="632774" y="226181"/>
                  </a:lnTo>
                  <a:close/>
                  <a:moveTo>
                    <a:pt x="556574" y="70275"/>
                  </a:moveTo>
                  <a:lnTo>
                    <a:pt x="613724" y="70275"/>
                  </a:lnTo>
                  <a:lnTo>
                    <a:pt x="613724" y="208083"/>
                  </a:lnTo>
                  <a:lnTo>
                    <a:pt x="556574" y="153791"/>
                  </a:lnTo>
                  <a:close/>
                  <a:moveTo>
                    <a:pt x="661349" y="680085"/>
                  </a:moveTo>
                  <a:lnTo>
                    <a:pt x="461324" y="679999"/>
                  </a:lnTo>
                  <a:lnTo>
                    <a:pt x="461324" y="441874"/>
                  </a:lnTo>
                  <a:lnTo>
                    <a:pt x="327974" y="441874"/>
                  </a:lnTo>
                  <a:lnTo>
                    <a:pt x="327974" y="679942"/>
                  </a:lnTo>
                  <a:lnTo>
                    <a:pt x="127949" y="679866"/>
                  </a:lnTo>
                  <a:lnTo>
                    <a:pt x="127949" y="374047"/>
                  </a:lnTo>
                  <a:lnTo>
                    <a:pt x="394649" y="121482"/>
                  </a:lnTo>
                  <a:lnTo>
                    <a:pt x="661349" y="373675"/>
                  </a:lnTo>
                  <a:close/>
                  <a:moveTo>
                    <a:pt x="62160" y="410108"/>
                  </a:moveTo>
                  <a:lnTo>
                    <a:pt x="27299" y="375285"/>
                  </a:lnTo>
                  <a:lnTo>
                    <a:pt x="394649" y="26251"/>
                  </a:lnTo>
                  <a:lnTo>
                    <a:pt x="762000" y="375285"/>
                  </a:lnTo>
                  <a:lnTo>
                    <a:pt x="727358" y="409880"/>
                  </a:lnTo>
                  <a:lnTo>
                    <a:pt x="394649" y="9525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7" name="Grafik 34" descr="Solarmodule">
              <a:extLst>
                <a:ext uri="{FF2B5EF4-FFF2-40B4-BE49-F238E27FC236}">
                  <a16:creationId xmlns:a16="http://schemas.microsoft.com/office/drawing/2014/main" id="{B9D9AE78-5808-4BF6-A6CA-5468A990D5CF}"/>
                </a:ext>
              </a:extLst>
            </p:cNvPr>
            <p:cNvGrpSpPr/>
            <p:nvPr/>
          </p:nvGrpSpPr>
          <p:grpSpPr>
            <a:xfrm>
              <a:off x="3625027" y="2521076"/>
              <a:ext cx="505644" cy="505644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8979B47D-7407-4334-853C-FDD54279B742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9F223CAD-D448-4D5F-B772-10C7A887ED42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0F332444-8533-4937-B355-5717D6914381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20BE7A0F-7F13-4645-8315-B7175F5A4A1A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EC234D8C-420F-49E5-9E00-DEF5FFAA80DB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769D8455-A712-4FB1-95A0-2D23F83EB65D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E413562-6E67-47F9-8C98-5401249CFF07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61F46EC-1EAB-4529-9533-90A3D29DB264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14FD22EF-ED27-482C-982C-4015836D38EA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F9E8EFE4-BFD9-48E2-89B5-67EAB665F622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8736BAFA-F66E-48DE-92AC-1AEFCD6A3D16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4A40ABBF-20A8-47FC-924D-2E2ACE9C15A1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0364E59B-F2F6-44B0-8B85-1FE79C880BAB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B59AD83-9552-4829-88A5-B251D1768BE9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F1C00610-E8B2-42A9-B8CD-F0E653FA07AF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E33C8584-8268-475F-A08D-A72CE5B0E063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00ED1E00-5EE8-420B-A1F8-B3150173AC0C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FFEA0FA-9B25-4963-B68B-A2D2A7F61CCB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F69A300-B2A2-4CDC-A9DB-B834648A17BB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61F1D147-A717-4CDD-B84D-E57FDD4A6FAC}"/>
                </a:ext>
              </a:extLst>
            </p:cNvPr>
            <p:cNvSpPr txBox="1"/>
            <p:nvPr/>
          </p:nvSpPr>
          <p:spPr>
            <a:xfrm rot="5400000">
              <a:off x="2831309" y="2809369"/>
              <a:ext cx="369332" cy="909505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vert="vert270"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lasse n</a:t>
              </a:r>
            </a:p>
          </p:txBody>
        </p:sp>
        <p:sp>
          <p:nvSpPr>
            <p:cNvPr id="9" name="Geschweifte Klammer rechts 8">
              <a:extLst>
                <a:ext uri="{FF2B5EF4-FFF2-40B4-BE49-F238E27FC236}">
                  <a16:creationId xmlns:a16="http://schemas.microsoft.com/office/drawing/2014/main" id="{014DB791-2724-43F2-B323-3A243F2A5ABE}"/>
                </a:ext>
              </a:extLst>
            </p:cNvPr>
            <p:cNvSpPr/>
            <p:nvPr/>
          </p:nvSpPr>
          <p:spPr>
            <a:xfrm>
              <a:off x="2255573" y="2858468"/>
              <a:ext cx="283764" cy="811306"/>
            </a:xfrm>
            <a:prstGeom prst="rightBrac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041DA870-D7E6-4E2C-9CDA-C183F70A56F1}"/>
              </a:ext>
            </a:extLst>
          </p:cNvPr>
          <p:cNvSpPr/>
          <p:nvPr/>
        </p:nvSpPr>
        <p:spPr>
          <a:xfrm>
            <a:off x="11054359" y="3675187"/>
            <a:ext cx="360040" cy="12984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1200" b="1" dirty="0">
                <a:solidFill>
                  <a:schemeClr val="tx1"/>
                </a:solidFill>
              </a:rPr>
              <a:t>PLZ-Gebiet</a:t>
            </a:r>
          </a:p>
        </p:txBody>
      </p:sp>
    </p:spTree>
    <p:extLst>
      <p:ext uri="{BB962C8B-B14F-4D97-AF65-F5344CB8AC3E}">
        <p14:creationId xmlns:p14="http://schemas.microsoft.com/office/powerpoint/2010/main" val="1872545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A0EF2D4-B115-4366-B983-801973003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AB9D8F5-1207-44E7-9C60-D9719D7FE12E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C78929-E241-47A7-8701-1643CB1F6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2B5741-02B3-4BE3-A5A6-C6967CA8C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6172D99-74C0-4615-A312-6AE4A54F1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frastruktur der Simulation</a:t>
            </a:r>
          </a:p>
        </p:txBody>
      </p:sp>
      <p:pic>
        <p:nvPicPr>
          <p:cNvPr id="6" name="Grafik 5" descr="Server">
            <a:extLst>
              <a:ext uri="{FF2B5EF4-FFF2-40B4-BE49-F238E27FC236}">
                <a16:creationId xmlns:a16="http://schemas.microsoft.com/office/drawing/2014/main" id="{A69A8CAD-A594-4A16-B4EE-BD55B28E6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31904" y="1988641"/>
            <a:ext cx="1728192" cy="172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7162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65F75C7D-C111-4465-8794-7BCB5DA291E1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0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er Jahresverbrauch der Haushalte entspricht dem 1.5fachen der installierten </a:t>
            </a:r>
            <a:br>
              <a:rPr lang="de-DE" dirty="0"/>
            </a:br>
            <a:r>
              <a:rPr lang="de-DE" dirty="0"/>
              <a:t>Photovoltaikkapazität in [MWh]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200" dirty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  <a:p>
            <a:r>
              <a:rPr lang="de-DE" sz="1400" dirty="0"/>
              <a:t>Da der Modultyp unbekannt ist, wird ein mittlerer </a:t>
            </a:r>
            <a:r>
              <a:rPr lang="de-DE" sz="1400" b="1" dirty="0"/>
              <a:t>Wirkungsgrad</a:t>
            </a:r>
            <a:r>
              <a:rPr lang="de-DE" sz="1400" dirty="0"/>
              <a:t> von 0,14 angenommen.</a:t>
            </a:r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286E3D2-6E88-4EB9-B044-2326005F9E6D}"/>
              </a:ext>
            </a:extLst>
          </p:cNvPr>
          <p:cNvGrpSpPr/>
          <p:nvPr/>
        </p:nvGrpSpPr>
        <p:grpSpPr>
          <a:xfrm>
            <a:off x="6880669" y="2326646"/>
            <a:ext cx="2924447" cy="2473508"/>
            <a:chOff x="7298575" y="2647378"/>
            <a:chExt cx="4036236" cy="3413863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B9ECBC7-7BB6-4EB7-89D4-7EC39BB598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770"/>
            <a:stretch/>
          </p:blipFill>
          <p:spPr>
            <a:xfrm>
              <a:off x="7298575" y="2781245"/>
              <a:ext cx="4036236" cy="3279996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F513BE2-1D3F-4792-A011-DE6335C54362}"/>
                </a:ext>
              </a:extLst>
            </p:cNvPr>
            <p:cNvSpPr/>
            <p:nvPr/>
          </p:nvSpPr>
          <p:spPr>
            <a:xfrm>
              <a:off x="8103041" y="2647378"/>
              <a:ext cx="2206034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3" name="Textfeld 42">
            <a:extLst>
              <a:ext uri="{FF2B5EF4-FFF2-40B4-BE49-F238E27FC236}">
                <a16:creationId xmlns:a16="http://schemas.microsoft.com/office/drawing/2014/main" id="{9AAD3683-6799-42C9-911A-41BB83D3D143}"/>
              </a:ext>
            </a:extLst>
          </p:cNvPr>
          <p:cNvSpPr txBox="1"/>
          <p:nvPr/>
        </p:nvSpPr>
        <p:spPr>
          <a:xfrm>
            <a:off x="531930" y="5852242"/>
            <a:ext cx="6758196" cy="24622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>
            <a:spAutoFit/>
          </a:bodyPr>
          <a:lstStyle/>
          <a:p>
            <a:r>
              <a:rPr lang="de-DE" sz="1000" dirty="0">
                <a:latin typeface="+mj-lt"/>
              </a:rPr>
              <a:t>Quelle: https://www.volker-quaschning.de/artikel/2013-06-Dimensionierung-PV-Speicher/index.php</a:t>
            </a:r>
          </a:p>
        </p:txBody>
      </p:sp>
      <p:sp>
        <p:nvSpPr>
          <p:cNvPr id="14" name="Multiplikationszeichen 13">
            <a:extLst>
              <a:ext uri="{FF2B5EF4-FFF2-40B4-BE49-F238E27FC236}">
                <a16:creationId xmlns:a16="http://schemas.microsoft.com/office/drawing/2014/main" id="{3735AE09-F02E-4318-AD93-A4A871029599}"/>
              </a:ext>
            </a:extLst>
          </p:cNvPr>
          <p:cNvSpPr/>
          <p:nvPr/>
        </p:nvSpPr>
        <p:spPr>
          <a:xfrm>
            <a:off x="8425789" y="4464068"/>
            <a:ext cx="156520" cy="156520"/>
          </a:xfrm>
          <a:prstGeom prst="mathMultiply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F7358602-BE1D-46F7-9DF1-263C2E56A454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525284" y="2489560"/>
            <a:chExt cx="6432095" cy="2959547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52540699-96B9-4B6D-B8FD-AC6EC3FB3370}"/>
                </a:ext>
              </a:extLst>
            </p:cNvPr>
            <p:cNvGrpSpPr/>
            <p:nvPr/>
          </p:nvGrpSpPr>
          <p:grpSpPr>
            <a:xfrm>
              <a:off x="525284" y="2489560"/>
              <a:ext cx="6432095" cy="2959547"/>
              <a:chOff x="2679112" y="2303880"/>
              <a:chExt cx="6432095" cy="2959547"/>
            </a:xfrm>
          </p:grpSpPr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1C537592-2173-4E20-AA6E-2FFA9679BA42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892552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etter</a:t>
                </a:r>
              </a:p>
            </p:txBody>
          </p:sp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9547F71F-58D2-4C76-987B-1E37C3B2DF67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 err="1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2341C993-4885-4DC0-9515-6EEED840DB4F}"/>
                  </a:ext>
                </a:extLst>
              </p:cNvPr>
              <p:cNvSpPr/>
              <p:nvPr/>
            </p:nvSpPr>
            <p:spPr>
              <a:xfrm rot="16200000">
                <a:off x="3038070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V-Solo</a:t>
                </a:r>
                <a:endParaRPr lang="de-DE" sz="1600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ig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Ausrich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Jahresstromverbrauch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72" name="Pfeil: nach oben 71">
                <a:extLst>
                  <a:ext uri="{FF2B5EF4-FFF2-40B4-BE49-F238E27FC236}">
                    <a16:creationId xmlns:a16="http://schemas.microsoft.com/office/drawing/2014/main" id="{CDD2BD58-6394-4F67-8D83-C64696CDA9FB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73" name="Pfeil: nach oben 72">
                <a:extLst>
                  <a:ext uri="{FF2B5EF4-FFF2-40B4-BE49-F238E27FC236}">
                    <a16:creationId xmlns:a16="http://schemas.microsoft.com/office/drawing/2014/main" id="{C84F49CE-75EB-43D0-A631-8C7D90E9AB7A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96301AC-F1F6-4DE3-8171-6443A89AC4E2}"/>
                </a:ext>
              </a:extLst>
            </p:cNvPr>
            <p:cNvSpPr/>
            <p:nvPr/>
          </p:nvSpPr>
          <p:spPr>
            <a:xfrm>
              <a:off x="3215680" y="2583333"/>
              <a:ext cx="432048" cy="382694"/>
            </a:xfrm>
            <a:custGeom>
              <a:avLst/>
              <a:gdLst>
                <a:gd name="connsiteX0" fmla="*/ 632774 w 789298"/>
                <a:gd name="connsiteY0" fmla="*/ 51225 h 699134"/>
                <a:gd name="connsiteX1" fmla="*/ 537524 w 789298"/>
                <a:gd name="connsiteY1" fmla="*/ 51225 h 699134"/>
                <a:gd name="connsiteX2" fmla="*/ 537524 w 789298"/>
                <a:gd name="connsiteY2" fmla="*/ 135693 h 699134"/>
                <a:gd name="connsiteX3" fmla="*/ 394649 w 789298"/>
                <a:gd name="connsiteY3" fmla="*/ 0 h 699134"/>
                <a:gd name="connsiteX4" fmla="*/ 0 w 789298"/>
                <a:gd name="connsiteY4" fmla="*/ 374885 h 699134"/>
                <a:gd name="connsiteX5" fmla="*/ 61808 w 789298"/>
                <a:gd name="connsiteY5" fmla="*/ 436683 h 699134"/>
                <a:gd name="connsiteX6" fmla="*/ 108899 w 789298"/>
                <a:gd name="connsiteY6" fmla="*/ 392087 h 699134"/>
                <a:gd name="connsiteX7" fmla="*/ 108899 w 789298"/>
                <a:gd name="connsiteY7" fmla="*/ 698906 h 699134"/>
                <a:gd name="connsiteX8" fmla="*/ 347024 w 789298"/>
                <a:gd name="connsiteY8" fmla="*/ 699002 h 699134"/>
                <a:gd name="connsiteX9" fmla="*/ 347024 w 789298"/>
                <a:gd name="connsiteY9" fmla="*/ 460953 h 699134"/>
                <a:gd name="connsiteX10" fmla="*/ 442274 w 789298"/>
                <a:gd name="connsiteY10" fmla="*/ 460953 h 699134"/>
                <a:gd name="connsiteX11" fmla="*/ 442274 w 789298"/>
                <a:gd name="connsiteY11" fmla="*/ 699078 h 699134"/>
                <a:gd name="connsiteX12" fmla="*/ 680399 w 789298"/>
                <a:gd name="connsiteY12" fmla="*/ 699135 h 699134"/>
                <a:gd name="connsiteX13" fmla="*/ 680399 w 789298"/>
                <a:gd name="connsiteY13" fmla="*/ 391687 h 699134"/>
                <a:gd name="connsiteX14" fmla="*/ 727729 w 789298"/>
                <a:gd name="connsiteY14" fmla="*/ 436455 h 699134"/>
                <a:gd name="connsiteX15" fmla="*/ 789299 w 789298"/>
                <a:gd name="connsiteY15" fmla="*/ 374894 h 699134"/>
                <a:gd name="connsiteX16" fmla="*/ 632774 w 789298"/>
                <a:gd name="connsiteY16" fmla="*/ 226181 h 699134"/>
                <a:gd name="connsiteX17" fmla="*/ 556574 w 789298"/>
                <a:gd name="connsiteY17" fmla="*/ 70275 h 699134"/>
                <a:gd name="connsiteX18" fmla="*/ 613724 w 789298"/>
                <a:gd name="connsiteY18" fmla="*/ 70275 h 699134"/>
                <a:gd name="connsiteX19" fmla="*/ 613724 w 789298"/>
                <a:gd name="connsiteY19" fmla="*/ 208083 h 699134"/>
                <a:gd name="connsiteX20" fmla="*/ 556574 w 789298"/>
                <a:gd name="connsiteY20" fmla="*/ 153791 h 699134"/>
                <a:gd name="connsiteX21" fmla="*/ 661349 w 789298"/>
                <a:gd name="connsiteY21" fmla="*/ 680085 h 699134"/>
                <a:gd name="connsiteX22" fmla="*/ 461324 w 789298"/>
                <a:gd name="connsiteY22" fmla="*/ 679999 h 699134"/>
                <a:gd name="connsiteX23" fmla="*/ 461324 w 789298"/>
                <a:gd name="connsiteY23" fmla="*/ 441874 h 699134"/>
                <a:gd name="connsiteX24" fmla="*/ 327974 w 789298"/>
                <a:gd name="connsiteY24" fmla="*/ 441874 h 699134"/>
                <a:gd name="connsiteX25" fmla="*/ 327974 w 789298"/>
                <a:gd name="connsiteY25" fmla="*/ 679942 h 699134"/>
                <a:gd name="connsiteX26" fmla="*/ 127949 w 789298"/>
                <a:gd name="connsiteY26" fmla="*/ 679866 h 699134"/>
                <a:gd name="connsiteX27" fmla="*/ 127949 w 789298"/>
                <a:gd name="connsiteY27" fmla="*/ 374047 h 699134"/>
                <a:gd name="connsiteX28" fmla="*/ 394649 w 789298"/>
                <a:gd name="connsiteY28" fmla="*/ 121482 h 699134"/>
                <a:gd name="connsiteX29" fmla="*/ 661349 w 789298"/>
                <a:gd name="connsiteY29" fmla="*/ 373675 h 699134"/>
                <a:gd name="connsiteX30" fmla="*/ 62160 w 789298"/>
                <a:gd name="connsiteY30" fmla="*/ 410108 h 699134"/>
                <a:gd name="connsiteX31" fmla="*/ 27299 w 789298"/>
                <a:gd name="connsiteY31" fmla="*/ 375285 h 699134"/>
                <a:gd name="connsiteX32" fmla="*/ 394649 w 789298"/>
                <a:gd name="connsiteY32" fmla="*/ 26251 h 699134"/>
                <a:gd name="connsiteX33" fmla="*/ 762000 w 789298"/>
                <a:gd name="connsiteY33" fmla="*/ 375285 h 699134"/>
                <a:gd name="connsiteX34" fmla="*/ 727358 w 789298"/>
                <a:gd name="connsiteY34" fmla="*/ 409880 h 699134"/>
                <a:gd name="connsiteX35" fmla="*/ 394649 w 789298"/>
                <a:gd name="connsiteY35" fmla="*/ 95250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89298" h="699134">
                  <a:moveTo>
                    <a:pt x="632774" y="51225"/>
                  </a:moveTo>
                  <a:lnTo>
                    <a:pt x="537524" y="51225"/>
                  </a:lnTo>
                  <a:lnTo>
                    <a:pt x="537524" y="135693"/>
                  </a:lnTo>
                  <a:lnTo>
                    <a:pt x="394649" y="0"/>
                  </a:lnTo>
                  <a:lnTo>
                    <a:pt x="0" y="374885"/>
                  </a:lnTo>
                  <a:lnTo>
                    <a:pt x="61808" y="436683"/>
                  </a:lnTo>
                  <a:lnTo>
                    <a:pt x="108899" y="392087"/>
                  </a:lnTo>
                  <a:lnTo>
                    <a:pt x="108899" y="698906"/>
                  </a:lnTo>
                  <a:lnTo>
                    <a:pt x="347024" y="699002"/>
                  </a:lnTo>
                  <a:lnTo>
                    <a:pt x="347024" y="460953"/>
                  </a:lnTo>
                  <a:lnTo>
                    <a:pt x="442274" y="460953"/>
                  </a:lnTo>
                  <a:lnTo>
                    <a:pt x="442274" y="699078"/>
                  </a:lnTo>
                  <a:lnTo>
                    <a:pt x="680399" y="699135"/>
                  </a:lnTo>
                  <a:lnTo>
                    <a:pt x="680399" y="391687"/>
                  </a:lnTo>
                  <a:lnTo>
                    <a:pt x="727729" y="436455"/>
                  </a:lnTo>
                  <a:lnTo>
                    <a:pt x="789299" y="374894"/>
                  </a:lnTo>
                  <a:lnTo>
                    <a:pt x="632774" y="226181"/>
                  </a:lnTo>
                  <a:close/>
                  <a:moveTo>
                    <a:pt x="556574" y="70275"/>
                  </a:moveTo>
                  <a:lnTo>
                    <a:pt x="613724" y="70275"/>
                  </a:lnTo>
                  <a:lnTo>
                    <a:pt x="613724" y="208083"/>
                  </a:lnTo>
                  <a:lnTo>
                    <a:pt x="556574" y="153791"/>
                  </a:lnTo>
                  <a:close/>
                  <a:moveTo>
                    <a:pt x="661349" y="680085"/>
                  </a:moveTo>
                  <a:lnTo>
                    <a:pt x="461324" y="679999"/>
                  </a:lnTo>
                  <a:lnTo>
                    <a:pt x="461324" y="441874"/>
                  </a:lnTo>
                  <a:lnTo>
                    <a:pt x="327974" y="441874"/>
                  </a:lnTo>
                  <a:lnTo>
                    <a:pt x="327974" y="679942"/>
                  </a:lnTo>
                  <a:lnTo>
                    <a:pt x="127949" y="679866"/>
                  </a:lnTo>
                  <a:lnTo>
                    <a:pt x="127949" y="374047"/>
                  </a:lnTo>
                  <a:lnTo>
                    <a:pt x="394649" y="121482"/>
                  </a:lnTo>
                  <a:lnTo>
                    <a:pt x="661349" y="373675"/>
                  </a:lnTo>
                  <a:close/>
                  <a:moveTo>
                    <a:pt x="62160" y="410108"/>
                  </a:moveTo>
                  <a:lnTo>
                    <a:pt x="27299" y="375285"/>
                  </a:lnTo>
                  <a:lnTo>
                    <a:pt x="394649" y="26251"/>
                  </a:lnTo>
                  <a:lnTo>
                    <a:pt x="762000" y="375285"/>
                  </a:lnTo>
                  <a:lnTo>
                    <a:pt x="727358" y="409880"/>
                  </a:lnTo>
                  <a:lnTo>
                    <a:pt x="394649" y="9525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7" name="Grafik 34" descr="Solarmodule">
              <a:extLst>
                <a:ext uri="{FF2B5EF4-FFF2-40B4-BE49-F238E27FC236}">
                  <a16:creationId xmlns:a16="http://schemas.microsoft.com/office/drawing/2014/main" id="{CBEC912F-7F56-4345-BB33-47C7512FF306}"/>
                </a:ext>
              </a:extLst>
            </p:cNvPr>
            <p:cNvGrpSpPr/>
            <p:nvPr/>
          </p:nvGrpSpPr>
          <p:grpSpPr>
            <a:xfrm>
              <a:off x="3625027" y="2521076"/>
              <a:ext cx="505644" cy="505644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3960DCE-8194-432E-A616-0D5C0001A8EE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E6AD6441-38A4-47FF-9A02-F8E3B70A26D0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3D3FCC4-904D-4958-AAB8-F972846C013F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6C097794-62D5-45D1-995E-CF2129311D01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C1F90F3-BE9A-4468-9A09-3CE5F4F91271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CAA4C9A-BDD1-468A-A88B-ABC61140B47A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2CAB4-9C83-4532-9894-6B0E707631A8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93CA5B6A-59E7-43EA-A617-E3C259D25918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07D40F3-57E2-492F-9983-48A7B6B6F1EA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ADA01763-02EA-4F18-8BA8-93283DAC4785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588EFEC-EBD0-4ACE-8F73-7F66C0C7CC72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10114AA2-E448-431C-BC42-D2A5A3520FEE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C634961-ECEF-454E-BAA4-F59889ACDE4A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D72A8108-2283-429B-A3B7-A8E467D50FDF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67727D3-95F2-48CC-A5BE-B952D5E5E627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7EF609B9-F2DC-4C7F-8C6F-296835909377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72E05789-45C0-439B-A86F-81E54579C99A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4C25B584-4422-4225-B23E-D899362B54DF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CD728077-4D33-4FC7-B7AF-379A7FD4EF30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CCB32BA0-5C8D-4193-9B07-BF1037E8E856}"/>
              </a:ext>
            </a:extLst>
          </p:cNvPr>
          <p:cNvSpPr txBox="1"/>
          <p:nvPr/>
        </p:nvSpPr>
        <p:spPr>
          <a:xfrm rot="5400000">
            <a:off x="2831309" y="2809369"/>
            <a:ext cx="369332" cy="90950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2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asse n</a:t>
            </a:r>
          </a:p>
        </p:txBody>
      </p:sp>
      <p:sp>
        <p:nvSpPr>
          <p:cNvPr id="13" name="Geschweifte Klammer rechts 12">
            <a:extLst>
              <a:ext uri="{FF2B5EF4-FFF2-40B4-BE49-F238E27FC236}">
                <a16:creationId xmlns:a16="http://schemas.microsoft.com/office/drawing/2014/main" id="{0AE28DFB-116D-4C51-ADBB-0573EE59E562}"/>
              </a:ext>
            </a:extLst>
          </p:cNvPr>
          <p:cNvSpPr/>
          <p:nvPr/>
        </p:nvSpPr>
        <p:spPr>
          <a:xfrm>
            <a:off x="2255573" y="2858468"/>
            <a:ext cx="283764" cy="811306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10343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177DA4A-757B-4700-8F42-C5192E2686D2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er optimale Fahrplan bzw. die Menge, die von dem Demand Agenten gekauft werden muss, entspricht der Differenz der Erzeugungs- und Verbrauchszeitreih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6797450" y="1963316"/>
                <a:ext cx="4616949" cy="4012037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sz="1400" b="1" dirty="0"/>
                  <a:t>Optimaler Dispatch</a:t>
                </a:r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𝑃𝑟𝑜𝑠𝑢𝑚𝑒𝑟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𝐵𝑒𝑑𝑎𝑟𝑓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𝑃𝑉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b="1" dirty="0"/>
              </a:p>
              <a:p>
                <a:pPr marL="0" indent="0">
                  <a:buNone/>
                </a:pPr>
                <a:endParaRPr lang="de-DE" sz="1400" dirty="0"/>
              </a:p>
              <a:p>
                <a:endParaRPr lang="de-DE" sz="1400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5966AEA6-884C-40CF-A2C5-ADBBDCA416F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6797450" y="1963316"/>
                <a:ext cx="4616949" cy="4012037"/>
              </a:xfrm>
              <a:blipFill>
                <a:blip r:embed="rId3"/>
                <a:stretch>
                  <a:fillRect l="-396" t="-30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3494" name="Picture 6" descr="Energieeffizienz | ABB">
            <a:extLst>
              <a:ext uri="{FF2B5EF4-FFF2-40B4-BE49-F238E27FC236}">
                <a16:creationId xmlns:a16="http://schemas.microsoft.com/office/drawing/2014/main" id="{25A8DB6E-7868-4B8A-8FAB-246D5A9E46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C7C7C7"/>
              </a:clrFrom>
              <a:clrTo>
                <a:srgbClr val="C7C7C7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4" t="23892" r="6909" b="3854"/>
          <a:stretch/>
        </p:blipFill>
        <p:spPr bwMode="auto">
          <a:xfrm>
            <a:off x="7001875" y="2467715"/>
            <a:ext cx="3998462" cy="2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0969625B-17B0-4885-A99A-29F7EA7BC9D8}"/>
              </a:ext>
            </a:extLst>
          </p:cNvPr>
          <p:cNvSpPr txBox="1"/>
          <p:nvPr/>
        </p:nvSpPr>
        <p:spPr>
          <a:xfrm>
            <a:off x="525283" y="5755464"/>
            <a:ext cx="6110286" cy="24622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>
            <a:spAutoFit/>
          </a:bodyPr>
          <a:lstStyle/>
          <a:p>
            <a:r>
              <a:rPr lang="de-DE" sz="1000" dirty="0">
                <a:latin typeface="+mj-lt"/>
              </a:rPr>
              <a:t>Quelle: https://new.abb.com/low-voltage/de/energieeffizienz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926561B-1309-48A9-A10A-C6592A63DAC6}"/>
                  </a:ext>
                </a:extLst>
              </p:cNvPr>
              <p:cNvSpPr txBox="1"/>
              <p:nvPr/>
            </p:nvSpPr>
            <p:spPr>
              <a:xfrm>
                <a:off x="9059956" y="2575047"/>
                <a:ext cx="383759" cy="246221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kern="0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  <a:cs typeface="Verdana" panose="020B0604030504040204" pitchFamily="34" charset="0"/>
                            </a:rPr>
                          </m:ctrlPr>
                        </m:sSubPr>
                        <m:e>
                          <m:r>
                            <a:rPr lang="de-DE" sz="1600" b="0" i="1" kern="0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  <a:cs typeface="Verdana" panose="020B0604030504040204" pitchFamily="34" charset="0"/>
                            </a:rPr>
                            <m:t>𝑃</m:t>
                          </m:r>
                        </m:e>
                        <m:sub>
                          <m:r>
                            <a:rPr lang="de-DE" sz="1600" b="0" i="1" kern="0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  <a:cs typeface="Verdana" panose="020B0604030504040204" pitchFamily="34" charset="0"/>
                            </a:rPr>
                            <m:t>𝑃𝑉</m:t>
                          </m:r>
                        </m:sub>
                      </m:sSub>
                    </m:oMath>
                  </m:oMathPara>
                </a14:m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3926561B-1309-48A9-A10A-C6592A63DA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9956" y="2575047"/>
                <a:ext cx="383759" cy="246221"/>
              </a:xfrm>
              <a:prstGeom prst="rect">
                <a:avLst/>
              </a:prstGeom>
              <a:blipFill>
                <a:blip r:embed="rId5"/>
                <a:stretch>
                  <a:fillRect l="-7937" b="-17073"/>
                </a:stretch>
              </a:blipFill>
              <a:ln>
                <a:noFill/>
                <a:prstDash val="soli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885789EF-C135-4E60-B4D3-967A78F79706}"/>
                  </a:ext>
                </a:extLst>
              </p:cNvPr>
              <p:cNvSpPr txBox="1"/>
              <p:nvPr/>
            </p:nvSpPr>
            <p:spPr>
              <a:xfrm>
                <a:off x="9980782" y="2522639"/>
                <a:ext cx="729495" cy="265970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b="0" i="1" kern="0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  <a:cs typeface="Verdana" panose="020B0604030504040204" pitchFamily="34" charset="0"/>
                            </a:rPr>
                          </m:ctrlPr>
                        </m:sSubPr>
                        <m:e>
                          <m:r>
                            <a:rPr lang="de-DE" sz="1600" b="0" i="1" kern="0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  <a:cs typeface="Verdana" panose="020B0604030504040204" pitchFamily="34" charset="0"/>
                            </a:rPr>
                            <m:t>𝑃</m:t>
                          </m:r>
                        </m:e>
                        <m:sub>
                          <m:r>
                            <a:rPr lang="de-DE" sz="1600" b="0" i="1" kern="0" smtClean="0">
                              <a:solidFill>
                                <a:sysClr val="windowText" lastClr="000000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  <a:cs typeface="Verdana" panose="020B0604030504040204" pitchFamily="34" charset="0"/>
                            </a:rPr>
                            <m:t>𝐵𝑒𝑑𝑎𝑟𝑓</m:t>
                          </m:r>
                        </m:sub>
                      </m:sSub>
                    </m:oMath>
                  </m:oMathPara>
                </a14:m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885789EF-C135-4E60-B4D3-967A78F797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80782" y="2522639"/>
                <a:ext cx="729495" cy="265970"/>
              </a:xfrm>
              <a:prstGeom prst="rect">
                <a:avLst/>
              </a:prstGeom>
              <a:blipFill>
                <a:blip r:embed="rId6"/>
                <a:stretch>
                  <a:fillRect l="-4167" r="-833" b="-27907"/>
                </a:stretch>
              </a:blipFill>
              <a:ln>
                <a:noFill/>
                <a:prstDash val="solid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D3462128-1DE6-417A-8617-9809A1DA25C9}"/>
              </a:ext>
            </a:extLst>
          </p:cNvPr>
          <p:cNvGrpSpPr/>
          <p:nvPr/>
        </p:nvGrpSpPr>
        <p:grpSpPr>
          <a:xfrm>
            <a:off x="525285" y="2489560"/>
            <a:ext cx="6432094" cy="2959547"/>
            <a:chOff x="525285" y="2489560"/>
            <a:chExt cx="6432094" cy="2959547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B01102DC-33B1-457E-AE10-417AD8CF83E5}"/>
                </a:ext>
              </a:extLst>
            </p:cNvPr>
            <p:cNvGrpSpPr/>
            <p:nvPr/>
          </p:nvGrpSpPr>
          <p:grpSpPr>
            <a:xfrm>
              <a:off x="525285" y="2489560"/>
              <a:ext cx="6432094" cy="2959547"/>
              <a:chOff x="2679113" y="2303880"/>
              <a:chExt cx="6432094" cy="2959547"/>
            </a:xfrm>
          </p:grpSpPr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BB98EAD7-2C1E-4EBE-A8BD-FC6E5767D25E}"/>
                  </a:ext>
                </a:extLst>
              </p:cNvPr>
              <p:cNvSpPr txBox="1"/>
              <p:nvPr/>
            </p:nvSpPr>
            <p:spPr>
              <a:xfrm>
                <a:off x="6523773" y="2303880"/>
                <a:ext cx="2452547" cy="892552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n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atum</a:t>
                </a:r>
              </a:p>
              <a:p>
                <a:pPr marL="285750" indent="-285750"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Wetter</a:t>
                </a:r>
              </a:p>
            </p:txBody>
          </p:sp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0B1B7421-B5BA-4180-A839-8A36758CEAB6}"/>
                  </a:ext>
                </a:extLst>
              </p:cNvPr>
              <p:cNvSpPr txBox="1"/>
              <p:nvPr/>
            </p:nvSpPr>
            <p:spPr>
              <a:xfrm>
                <a:off x="6513403" y="3956968"/>
                <a:ext cx="2597804" cy="600164"/>
              </a:xfrm>
              <a:prstGeom prst="rect">
                <a:avLst/>
              </a:prstGeom>
              <a:noFill/>
              <a:ln>
                <a:noFill/>
                <a:prstDash val="solid"/>
              </a:ln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600"/>
                  </a:spcBef>
                  <a:spcAft>
                    <a:spcPts val="0"/>
                  </a:spcAft>
                  <a:buClr>
                    <a:schemeClr val="accent2">
                      <a:lumMod val="50000"/>
                    </a:schemeClr>
                  </a:buClr>
                  <a:buSzPct val="11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Output</a:t>
                </a:r>
                <a:endParaRPr lang="de-DE" sz="16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b="1" kern="0" dirty="0" err="1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Opt</a:t>
                </a:r>
                <a:r>
                  <a:rPr lang="de-DE" sz="1400" b="1" kern="0" dirty="0">
                    <a:solidFill>
                      <a:schemeClr val="accent1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. Dispatch</a:t>
                </a:r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AC861B2B-92C2-4693-AD93-33AE3F98CAC3}"/>
                  </a:ext>
                </a:extLst>
              </p:cNvPr>
              <p:cNvSpPr/>
              <p:nvPr/>
            </p:nvSpPr>
            <p:spPr>
              <a:xfrm rot="16200000">
                <a:off x="3038071" y="1949976"/>
                <a:ext cx="2954493" cy="3672410"/>
              </a:xfrm>
              <a:prstGeom prst="rect">
                <a:avLst/>
              </a:prstGeom>
              <a:ln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vert" rtlCol="0" anchor="t"/>
              <a:lstStyle/>
              <a:p>
                <a:pPr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</a:pPr>
                <a:r>
                  <a:rPr lang="de-DE" sz="1400" b="1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V-Solo</a:t>
                </a: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nnleis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Neig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Ausrichtung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irkungsgrad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r>
                  <a:rPr lang="de-DE" sz="1400" kern="0" dirty="0">
                    <a:solidFill>
                      <a:sysClr val="windowText" lastClr="000000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Jahresstromverbrauch</a:t>
                </a: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  <a:p>
                <a:pPr marL="285750" indent="-285750" fontAlgn="auto">
                  <a:spcBef>
                    <a:spcPts val="600"/>
                  </a:spcBef>
                  <a:spcAft>
                    <a:spcPts val="0"/>
                  </a:spcAft>
                  <a:buClr>
                    <a:schemeClr val="accent1"/>
                  </a:buClr>
                  <a:buSzPct val="140000"/>
                  <a:buFont typeface="Wingdings" panose="05000000000000000000" pitchFamily="2" charset="2"/>
                  <a:buChar char="§"/>
                </a:pPr>
                <a:endParaRPr lang="de-DE" sz="16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72" name="Pfeil: nach oben 71">
                <a:extLst>
                  <a:ext uri="{FF2B5EF4-FFF2-40B4-BE49-F238E27FC236}">
                    <a16:creationId xmlns:a16="http://schemas.microsoft.com/office/drawing/2014/main" id="{BB5DE7B8-F899-4A15-A91A-AEF671942F2D}"/>
                  </a:ext>
                </a:extLst>
              </p:cNvPr>
              <p:cNvSpPr/>
              <p:nvPr/>
            </p:nvSpPr>
            <p:spPr>
              <a:xfrm rot="16200000">
                <a:off x="6087867" y="3050118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73" name="Pfeil: nach oben 72">
                <a:extLst>
                  <a:ext uri="{FF2B5EF4-FFF2-40B4-BE49-F238E27FC236}">
                    <a16:creationId xmlns:a16="http://schemas.microsoft.com/office/drawing/2014/main" id="{297F5EE5-6700-4251-ABD0-2F15009896C4}"/>
                  </a:ext>
                </a:extLst>
              </p:cNvPr>
              <p:cNvSpPr/>
              <p:nvPr/>
            </p:nvSpPr>
            <p:spPr>
              <a:xfrm rot="5400000">
                <a:off x="6071560" y="4306153"/>
                <a:ext cx="360040" cy="468000"/>
              </a:xfrm>
              <a:prstGeom prst="upArrow">
                <a:avLst/>
              </a:prstGeom>
              <a:solidFill>
                <a:schemeClr val="accent3"/>
              </a:solidFill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6B5B00FB-DFC6-48EE-BA00-45C52983ADC2}"/>
                </a:ext>
              </a:extLst>
            </p:cNvPr>
            <p:cNvSpPr/>
            <p:nvPr/>
          </p:nvSpPr>
          <p:spPr>
            <a:xfrm>
              <a:off x="3215680" y="2583333"/>
              <a:ext cx="432048" cy="382694"/>
            </a:xfrm>
            <a:custGeom>
              <a:avLst/>
              <a:gdLst>
                <a:gd name="connsiteX0" fmla="*/ 632774 w 789298"/>
                <a:gd name="connsiteY0" fmla="*/ 51225 h 699134"/>
                <a:gd name="connsiteX1" fmla="*/ 537524 w 789298"/>
                <a:gd name="connsiteY1" fmla="*/ 51225 h 699134"/>
                <a:gd name="connsiteX2" fmla="*/ 537524 w 789298"/>
                <a:gd name="connsiteY2" fmla="*/ 135693 h 699134"/>
                <a:gd name="connsiteX3" fmla="*/ 394649 w 789298"/>
                <a:gd name="connsiteY3" fmla="*/ 0 h 699134"/>
                <a:gd name="connsiteX4" fmla="*/ 0 w 789298"/>
                <a:gd name="connsiteY4" fmla="*/ 374885 h 699134"/>
                <a:gd name="connsiteX5" fmla="*/ 61808 w 789298"/>
                <a:gd name="connsiteY5" fmla="*/ 436683 h 699134"/>
                <a:gd name="connsiteX6" fmla="*/ 108899 w 789298"/>
                <a:gd name="connsiteY6" fmla="*/ 392087 h 699134"/>
                <a:gd name="connsiteX7" fmla="*/ 108899 w 789298"/>
                <a:gd name="connsiteY7" fmla="*/ 698906 h 699134"/>
                <a:gd name="connsiteX8" fmla="*/ 347024 w 789298"/>
                <a:gd name="connsiteY8" fmla="*/ 699002 h 699134"/>
                <a:gd name="connsiteX9" fmla="*/ 347024 w 789298"/>
                <a:gd name="connsiteY9" fmla="*/ 460953 h 699134"/>
                <a:gd name="connsiteX10" fmla="*/ 442274 w 789298"/>
                <a:gd name="connsiteY10" fmla="*/ 460953 h 699134"/>
                <a:gd name="connsiteX11" fmla="*/ 442274 w 789298"/>
                <a:gd name="connsiteY11" fmla="*/ 699078 h 699134"/>
                <a:gd name="connsiteX12" fmla="*/ 680399 w 789298"/>
                <a:gd name="connsiteY12" fmla="*/ 699135 h 699134"/>
                <a:gd name="connsiteX13" fmla="*/ 680399 w 789298"/>
                <a:gd name="connsiteY13" fmla="*/ 391687 h 699134"/>
                <a:gd name="connsiteX14" fmla="*/ 727729 w 789298"/>
                <a:gd name="connsiteY14" fmla="*/ 436455 h 699134"/>
                <a:gd name="connsiteX15" fmla="*/ 789299 w 789298"/>
                <a:gd name="connsiteY15" fmla="*/ 374894 h 699134"/>
                <a:gd name="connsiteX16" fmla="*/ 632774 w 789298"/>
                <a:gd name="connsiteY16" fmla="*/ 226181 h 699134"/>
                <a:gd name="connsiteX17" fmla="*/ 556574 w 789298"/>
                <a:gd name="connsiteY17" fmla="*/ 70275 h 699134"/>
                <a:gd name="connsiteX18" fmla="*/ 613724 w 789298"/>
                <a:gd name="connsiteY18" fmla="*/ 70275 h 699134"/>
                <a:gd name="connsiteX19" fmla="*/ 613724 w 789298"/>
                <a:gd name="connsiteY19" fmla="*/ 208083 h 699134"/>
                <a:gd name="connsiteX20" fmla="*/ 556574 w 789298"/>
                <a:gd name="connsiteY20" fmla="*/ 153791 h 699134"/>
                <a:gd name="connsiteX21" fmla="*/ 661349 w 789298"/>
                <a:gd name="connsiteY21" fmla="*/ 680085 h 699134"/>
                <a:gd name="connsiteX22" fmla="*/ 461324 w 789298"/>
                <a:gd name="connsiteY22" fmla="*/ 679999 h 699134"/>
                <a:gd name="connsiteX23" fmla="*/ 461324 w 789298"/>
                <a:gd name="connsiteY23" fmla="*/ 441874 h 699134"/>
                <a:gd name="connsiteX24" fmla="*/ 327974 w 789298"/>
                <a:gd name="connsiteY24" fmla="*/ 441874 h 699134"/>
                <a:gd name="connsiteX25" fmla="*/ 327974 w 789298"/>
                <a:gd name="connsiteY25" fmla="*/ 679942 h 699134"/>
                <a:gd name="connsiteX26" fmla="*/ 127949 w 789298"/>
                <a:gd name="connsiteY26" fmla="*/ 679866 h 699134"/>
                <a:gd name="connsiteX27" fmla="*/ 127949 w 789298"/>
                <a:gd name="connsiteY27" fmla="*/ 374047 h 699134"/>
                <a:gd name="connsiteX28" fmla="*/ 394649 w 789298"/>
                <a:gd name="connsiteY28" fmla="*/ 121482 h 699134"/>
                <a:gd name="connsiteX29" fmla="*/ 661349 w 789298"/>
                <a:gd name="connsiteY29" fmla="*/ 373675 h 699134"/>
                <a:gd name="connsiteX30" fmla="*/ 62160 w 789298"/>
                <a:gd name="connsiteY30" fmla="*/ 410108 h 699134"/>
                <a:gd name="connsiteX31" fmla="*/ 27299 w 789298"/>
                <a:gd name="connsiteY31" fmla="*/ 375285 h 699134"/>
                <a:gd name="connsiteX32" fmla="*/ 394649 w 789298"/>
                <a:gd name="connsiteY32" fmla="*/ 26251 h 699134"/>
                <a:gd name="connsiteX33" fmla="*/ 762000 w 789298"/>
                <a:gd name="connsiteY33" fmla="*/ 375285 h 699134"/>
                <a:gd name="connsiteX34" fmla="*/ 727358 w 789298"/>
                <a:gd name="connsiteY34" fmla="*/ 409880 h 699134"/>
                <a:gd name="connsiteX35" fmla="*/ 394649 w 789298"/>
                <a:gd name="connsiteY35" fmla="*/ 95250 h 69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89298" h="699134">
                  <a:moveTo>
                    <a:pt x="632774" y="51225"/>
                  </a:moveTo>
                  <a:lnTo>
                    <a:pt x="537524" y="51225"/>
                  </a:lnTo>
                  <a:lnTo>
                    <a:pt x="537524" y="135693"/>
                  </a:lnTo>
                  <a:lnTo>
                    <a:pt x="394649" y="0"/>
                  </a:lnTo>
                  <a:lnTo>
                    <a:pt x="0" y="374885"/>
                  </a:lnTo>
                  <a:lnTo>
                    <a:pt x="61808" y="436683"/>
                  </a:lnTo>
                  <a:lnTo>
                    <a:pt x="108899" y="392087"/>
                  </a:lnTo>
                  <a:lnTo>
                    <a:pt x="108899" y="698906"/>
                  </a:lnTo>
                  <a:lnTo>
                    <a:pt x="347024" y="699002"/>
                  </a:lnTo>
                  <a:lnTo>
                    <a:pt x="347024" y="460953"/>
                  </a:lnTo>
                  <a:lnTo>
                    <a:pt x="442274" y="460953"/>
                  </a:lnTo>
                  <a:lnTo>
                    <a:pt x="442274" y="699078"/>
                  </a:lnTo>
                  <a:lnTo>
                    <a:pt x="680399" y="699135"/>
                  </a:lnTo>
                  <a:lnTo>
                    <a:pt x="680399" y="391687"/>
                  </a:lnTo>
                  <a:lnTo>
                    <a:pt x="727729" y="436455"/>
                  </a:lnTo>
                  <a:lnTo>
                    <a:pt x="789299" y="374894"/>
                  </a:lnTo>
                  <a:lnTo>
                    <a:pt x="632774" y="226181"/>
                  </a:lnTo>
                  <a:close/>
                  <a:moveTo>
                    <a:pt x="556574" y="70275"/>
                  </a:moveTo>
                  <a:lnTo>
                    <a:pt x="613724" y="70275"/>
                  </a:lnTo>
                  <a:lnTo>
                    <a:pt x="613724" y="208083"/>
                  </a:lnTo>
                  <a:lnTo>
                    <a:pt x="556574" y="153791"/>
                  </a:lnTo>
                  <a:close/>
                  <a:moveTo>
                    <a:pt x="661349" y="680085"/>
                  </a:moveTo>
                  <a:lnTo>
                    <a:pt x="461324" y="679999"/>
                  </a:lnTo>
                  <a:lnTo>
                    <a:pt x="461324" y="441874"/>
                  </a:lnTo>
                  <a:lnTo>
                    <a:pt x="327974" y="441874"/>
                  </a:lnTo>
                  <a:lnTo>
                    <a:pt x="327974" y="679942"/>
                  </a:lnTo>
                  <a:lnTo>
                    <a:pt x="127949" y="679866"/>
                  </a:lnTo>
                  <a:lnTo>
                    <a:pt x="127949" y="374047"/>
                  </a:lnTo>
                  <a:lnTo>
                    <a:pt x="394649" y="121482"/>
                  </a:lnTo>
                  <a:lnTo>
                    <a:pt x="661349" y="373675"/>
                  </a:lnTo>
                  <a:close/>
                  <a:moveTo>
                    <a:pt x="62160" y="410108"/>
                  </a:moveTo>
                  <a:lnTo>
                    <a:pt x="27299" y="375285"/>
                  </a:lnTo>
                  <a:lnTo>
                    <a:pt x="394649" y="26251"/>
                  </a:lnTo>
                  <a:lnTo>
                    <a:pt x="762000" y="375285"/>
                  </a:lnTo>
                  <a:lnTo>
                    <a:pt x="727358" y="409880"/>
                  </a:lnTo>
                  <a:lnTo>
                    <a:pt x="394649" y="9525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7" name="Grafik 34" descr="Solarmodule">
              <a:extLst>
                <a:ext uri="{FF2B5EF4-FFF2-40B4-BE49-F238E27FC236}">
                  <a16:creationId xmlns:a16="http://schemas.microsoft.com/office/drawing/2014/main" id="{30ED0280-29CD-4DE2-9B99-CA1EE1115E88}"/>
                </a:ext>
              </a:extLst>
            </p:cNvPr>
            <p:cNvGrpSpPr/>
            <p:nvPr/>
          </p:nvGrpSpPr>
          <p:grpSpPr>
            <a:xfrm>
              <a:off x="3625027" y="2521076"/>
              <a:ext cx="505644" cy="505644"/>
              <a:chOff x="6247042" y="3130666"/>
              <a:chExt cx="914400" cy="914400"/>
            </a:xfrm>
            <a:solidFill>
              <a:schemeClr val="accent3"/>
            </a:solidFill>
          </p:grpSpPr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87A90760-61C0-4E5E-954F-1E9F10000530}"/>
                  </a:ext>
                </a:extLst>
              </p:cNvPr>
              <p:cNvSpPr/>
              <p:nvPr/>
            </p:nvSpPr>
            <p:spPr>
              <a:xfrm>
                <a:off x="6285142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0E527C5A-00F2-49D5-9DAA-E99D14FFA45D}"/>
                  </a:ext>
                </a:extLst>
              </p:cNvPr>
              <p:cNvSpPr/>
              <p:nvPr/>
            </p:nvSpPr>
            <p:spPr>
              <a:xfrm>
                <a:off x="6317184" y="3218553"/>
                <a:ext cx="46529" cy="47625"/>
              </a:xfrm>
              <a:custGeom>
                <a:avLst/>
                <a:gdLst>
                  <a:gd name="connsiteX0" fmla="*/ 33061 w 46529"/>
                  <a:gd name="connsiteY0" fmla="*/ 47625 h 47625"/>
                  <a:gd name="connsiteX1" fmla="*/ 0 w 46529"/>
                  <a:gd name="connsiteY1" fmla="*/ 13783 h 47625"/>
                  <a:gd name="connsiteX2" fmla="*/ 13468 w 46529"/>
                  <a:gd name="connsiteY2" fmla="*/ 0 h 47625"/>
                  <a:gd name="connsiteX3" fmla="*/ 46530 w 46529"/>
                  <a:gd name="connsiteY3" fmla="*/ 33833 h 47625"/>
                  <a:gd name="connsiteX4" fmla="*/ 33061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47625"/>
                    </a:moveTo>
                    <a:lnTo>
                      <a:pt x="0" y="13783"/>
                    </a:lnTo>
                    <a:lnTo>
                      <a:pt x="13468" y="0"/>
                    </a:lnTo>
                    <a:lnTo>
                      <a:pt x="46530" y="33833"/>
                    </a:lnTo>
                    <a:lnTo>
                      <a:pt x="33061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C6B4238-296A-4C8A-A110-248E921546AC}"/>
                  </a:ext>
                </a:extLst>
              </p:cNvPr>
              <p:cNvSpPr/>
              <p:nvPr/>
            </p:nvSpPr>
            <p:spPr>
              <a:xfrm>
                <a:off x="6351817" y="3254491"/>
                <a:ext cx="114300" cy="114300"/>
              </a:xfrm>
              <a:custGeom>
                <a:avLst/>
                <a:gdLst>
                  <a:gd name="connsiteX0" fmla="*/ 114300 w 114300"/>
                  <a:gd name="connsiteY0" fmla="*/ 57150 h 114300"/>
                  <a:gd name="connsiteX1" fmla="*/ 57150 w 114300"/>
                  <a:gd name="connsiteY1" fmla="*/ 114300 h 114300"/>
                  <a:gd name="connsiteX2" fmla="*/ 0 w 114300"/>
                  <a:gd name="connsiteY2" fmla="*/ 57150 h 114300"/>
                  <a:gd name="connsiteX3" fmla="*/ 57150 w 114300"/>
                  <a:gd name="connsiteY3" fmla="*/ 0 h 114300"/>
                  <a:gd name="connsiteX4" fmla="*/ 114300 w 114300"/>
                  <a:gd name="connsiteY4" fmla="*/ 571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4300" y="57150"/>
                    </a:moveTo>
                    <a:cubicBezTo>
                      <a:pt x="114300" y="88713"/>
                      <a:pt x="88713" y="114300"/>
                      <a:pt x="57150" y="114300"/>
                    </a:cubicBezTo>
                    <a:cubicBezTo>
                      <a:pt x="25587" y="114300"/>
                      <a:pt x="0" y="88713"/>
                      <a:pt x="0" y="57150"/>
                    </a:cubicBezTo>
                    <a:cubicBezTo>
                      <a:pt x="0" y="25587"/>
                      <a:pt x="25587" y="0"/>
                      <a:pt x="57150" y="0"/>
                    </a:cubicBezTo>
                    <a:cubicBezTo>
                      <a:pt x="88713" y="0"/>
                      <a:pt x="114300" y="25587"/>
                      <a:pt x="1143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43203FB4-BE53-454C-A889-C90F6842E5F3}"/>
                  </a:ext>
                </a:extLst>
              </p:cNvPr>
              <p:cNvSpPr/>
              <p:nvPr/>
            </p:nvSpPr>
            <p:spPr>
              <a:xfrm>
                <a:off x="6399442" y="3186720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0A5C207-C61D-445B-B88B-C5EF8DD4C6AC}"/>
                  </a:ext>
                </a:extLst>
              </p:cNvPr>
              <p:cNvSpPr/>
              <p:nvPr/>
            </p:nvSpPr>
            <p:spPr>
              <a:xfrm>
                <a:off x="6485167" y="3301020"/>
                <a:ext cx="47625" cy="19050"/>
              </a:xfrm>
              <a:custGeom>
                <a:avLst/>
                <a:gdLst>
                  <a:gd name="connsiteX0" fmla="*/ 0 w 47625"/>
                  <a:gd name="connsiteY0" fmla="*/ 0 h 19050"/>
                  <a:gd name="connsiteX1" fmla="*/ 47625 w 47625"/>
                  <a:gd name="connsiteY1" fmla="*/ 0 h 19050"/>
                  <a:gd name="connsiteX2" fmla="*/ 47625 w 47625"/>
                  <a:gd name="connsiteY2" fmla="*/ 19050 h 19050"/>
                  <a:gd name="connsiteX3" fmla="*/ 0 w 47625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0" y="0"/>
                    </a:moveTo>
                    <a:lnTo>
                      <a:pt x="47625" y="0"/>
                    </a:lnTo>
                    <a:lnTo>
                      <a:pt x="47625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4D33835-8E7E-45AC-A63E-B815E10A6515}"/>
                  </a:ext>
                </a:extLst>
              </p:cNvPr>
              <p:cNvSpPr/>
              <p:nvPr/>
            </p:nvSpPr>
            <p:spPr>
              <a:xfrm>
                <a:off x="6454220" y="3218553"/>
                <a:ext cx="46529" cy="47625"/>
              </a:xfrm>
              <a:custGeom>
                <a:avLst/>
                <a:gdLst>
                  <a:gd name="connsiteX0" fmla="*/ 13468 w 46529"/>
                  <a:gd name="connsiteY0" fmla="*/ 47625 h 47625"/>
                  <a:gd name="connsiteX1" fmla="*/ 46530 w 46529"/>
                  <a:gd name="connsiteY1" fmla="*/ 13783 h 47625"/>
                  <a:gd name="connsiteX2" fmla="*/ 33061 w 46529"/>
                  <a:gd name="connsiteY2" fmla="*/ 0 h 47625"/>
                  <a:gd name="connsiteX3" fmla="*/ 0 w 46529"/>
                  <a:gd name="connsiteY3" fmla="*/ 33833 h 47625"/>
                  <a:gd name="connsiteX4" fmla="*/ 13468 w 46529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47625"/>
                    </a:moveTo>
                    <a:lnTo>
                      <a:pt x="46530" y="13783"/>
                    </a:lnTo>
                    <a:lnTo>
                      <a:pt x="33061" y="0"/>
                    </a:lnTo>
                    <a:lnTo>
                      <a:pt x="0" y="33833"/>
                    </a:lnTo>
                    <a:lnTo>
                      <a:pt x="13468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2DC89E74-1F84-429E-B195-1ACF7DE3EF57}"/>
                  </a:ext>
                </a:extLst>
              </p:cNvPr>
              <p:cNvSpPr/>
              <p:nvPr/>
            </p:nvSpPr>
            <p:spPr>
              <a:xfrm>
                <a:off x="6317184" y="3356008"/>
                <a:ext cx="46529" cy="47625"/>
              </a:xfrm>
              <a:custGeom>
                <a:avLst/>
                <a:gdLst>
                  <a:gd name="connsiteX0" fmla="*/ 33061 w 46529"/>
                  <a:gd name="connsiteY0" fmla="*/ 0 h 47625"/>
                  <a:gd name="connsiteX1" fmla="*/ 0 w 46529"/>
                  <a:gd name="connsiteY1" fmla="*/ 33842 h 47625"/>
                  <a:gd name="connsiteX2" fmla="*/ 13468 w 46529"/>
                  <a:gd name="connsiteY2" fmla="*/ 47625 h 47625"/>
                  <a:gd name="connsiteX3" fmla="*/ 46530 w 46529"/>
                  <a:gd name="connsiteY3" fmla="*/ 13792 h 47625"/>
                  <a:gd name="connsiteX4" fmla="*/ 33061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33061" y="0"/>
                    </a:moveTo>
                    <a:lnTo>
                      <a:pt x="0" y="33842"/>
                    </a:lnTo>
                    <a:lnTo>
                      <a:pt x="13468" y="47625"/>
                    </a:lnTo>
                    <a:lnTo>
                      <a:pt x="46530" y="13792"/>
                    </a:lnTo>
                    <a:lnTo>
                      <a:pt x="33061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8CF8A22-BBA7-49DB-A9F4-36544301589C}"/>
                  </a:ext>
                </a:extLst>
              </p:cNvPr>
              <p:cNvSpPr/>
              <p:nvPr/>
            </p:nvSpPr>
            <p:spPr>
              <a:xfrm>
                <a:off x="6399442" y="3387841"/>
                <a:ext cx="19050" cy="47625"/>
              </a:xfrm>
              <a:custGeom>
                <a:avLst/>
                <a:gdLst>
                  <a:gd name="connsiteX0" fmla="*/ 0 w 19050"/>
                  <a:gd name="connsiteY0" fmla="*/ 0 h 47625"/>
                  <a:gd name="connsiteX1" fmla="*/ 19050 w 19050"/>
                  <a:gd name="connsiteY1" fmla="*/ 0 h 47625"/>
                  <a:gd name="connsiteX2" fmla="*/ 19050 w 19050"/>
                  <a:gd name="connsiteY2" fmla="*/ 47625 h 47625"/>
                  <a:gd name="connsiteX3" fmla="*/ 0 w 19050"/>
                  <a:gd name="connsiteY3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76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7625"/>
                    </a:lnTo>
                    <a:lnTo>
                      <a:pt x="0" y="476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6054976-513B-4C5C-919F-83BDA57E49FC}"/>
                  </a:ext>
                </a:extLst>
              </p:cNvPr>
              <p:cNvSpPr/>
              <p:nvPr/>
            </p:nvSpPr>
            <p:spPr>
              <a:xfrm>
                <a:off x="6454220" y="3356008"/>
                <a:ext cx="46529" cy="47625"/>
              </a:xfrm>
              <a:custGeom>
                <a:avLst/>
                <a:gdLst>
                  <a:gd name="connsiteX0" fmla="*/ 13468 w 46529"/>
                  <a:gd name="connsiteY0" fmla="*/ 0 h 47625"/>
                  <a:gd name="connsiteX1" fmla="*/ 46530 w 46529"/>
                  <a:gd name="connsiteY1" fmla="*/ 33842 h 47625"/>
                  <a:gd name="connsiteX2" fmla="*/ 33061 w 46529"/>
                  <a:gd name="connsiteY2" fmla="*/ 47625 h 47625"/>
                  <a:gd name="connsiteX3" fmla="*/ 0 w 46529"/>
                  <a:gd name="connsiteY3" fmla="*/ 13792 h 47625"/>
                  <a:gd name="connsiteX4" fmla="*/ 13468 w 46529"/>
                  <a:gd name="connsiteY4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29" h="47625">
                    <a:moveTo>
                      <a:pt x="13468" y="0"/>
                    </a:moveTo>
                    <a:lnTo>
                      <a:pt x="46530" y="33842"/>
                    </a:lnTo>
                    <a:lnTo>
                      <a:pt x="33061" y="47625"/>
                    </a:lnTo>
                    <a:lnTo>
                      <a:pt x="0" y="13792"/>
                    </a:lnTo>
                    <a:lnTo>
                      <a:pt x="1346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A4608-D819-4BC0-B4F5-60F64C9F7964}"/>
                  </a:ext>
                </a:extLst>
              </p:cNvPr>
              <p:cNvSpPr/>
              <p:nvPr/>
            </p:nvSpPr>
            <p:spPr>
              <a:xfrm>
                <a:off x="6682820" y="3509580"/>
                <a:ext cx="162858" cy="91573"/>
              </a:xfrm>
              <a:custGeom>
                <a:avLst/>
                <a:gdLst>
                  <a:gd name="connsiteX0" fmla="*/ 0 w 162858"/>
                  <a:gd name="connsiteY0" fmla="*/ 91573 h 91573"/>
                  <a:gd name="connsiteX1" fmla="*/ 162858 w 162858"/>
                  <a:gd name="connsiteY1" fmla="*/ 91573 h 91573"/>
                  <a:gd name="connsiteX2" fmla="*/ 151114 w 162858"/>
                  <a:gd name="connsiteY2" fmla="*/ 0 h 91573"/>
                  <a:gd name="connsiteX3" fmla="*/ 11744 w 162858"/>
                  <a:gd name="connsiteY3" fmla="*/ 0 h 91573"/>
                  <a:gd name="connsiteX4" fmla="*/ 0 w 162858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58" h="91573">
                    <a:moveTo>
                      <a:pt x="0" y="91573"/>
                    </a:moveTo>
                    <a:lnTo>
                      <a:pt x="162858" y="91573"/>
                    </a:lnTo>
                    <a:lnTo>
                      <a:pt x="151114" y="0"/>
                    </a:lnTo>
                    <a:lnTo>
                      <a:pt x="11744" y="0"/>
                    </a:lnTo>
                    <a:lnTo>
                      <a:pt x="0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0AF5998C-A654-4F47-9FDB-81F3028C74E6}"/>
                  </a:ext>
                </a:extLst>
              </p:cNvPr>
              <p:cNvSpPr/>
              <p:nvPr/>
            </p:nvSpPr>
            <p:spPr>
              <a:xfrm>
                <a:off x="6857108" y="3390784"/>
                <a:ext cx="145437" cy="80695"/>
              </a:xfrm>
              <a:custGeom>
                <a:avLst/>
                <a:gdLst>
                  <a:gd name="connsiteX0" fmla="*/ 10344 w 145437"/>
                  <a:gd name="connsiteY0" fmla="*/ 80696 h 80695"/>
                  <a:gd name="connsiteX1" fmla="*/ 145437 w 145437"/>
                  <a:gd name="connsiteY1" fmla="*/ 80696 h 80695"/>
                  <a:gd name="connsiteX2" fmla="*/ 109128 w 145437"/>
                  <a:gd name="connsiteY2" fmla="*/ 0 h 80695"/>
                  <a:gd name="connsiteX3" fmla="*/ 0 w 145437"/>
                  <a:gd name="connsiteY3" fmla="*/ 0 h 80695"/>
                  <a:gd name="connsiteX4" fmla="*/ 10344 w 14543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37" h="80695">
                    <a:moveTo>
                      <a:pt x="10344" y="80696"/>
                    </a:moveTo>
                    <a:lnTo>
                      <a:pt x="145437" y="80696"/>
                    </a:lnTo>
                    <a:lnTo>
                      <a:pt x="109128" y="0"/>
                    </a:lnTo>
                    <a:lnTo>
                      <a:pt x="0" y="0"/>
                    </a:lnTo>
                    <a:lnTo>
                      <a:pt x="1034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38C19EFB-F858-499E-B1A3-7A68DFFA8BAD}"/>
                  </a:ext>
                </a:extLst>
              </p:cNvPr>
              <p:cNvSpPr/>
              <p:nvPr/>
            </p:nvSpPr>
            <p:spPr>
              <a:xfrm>
                <a:off x="6872339" y="3509580"/>
                <a:ext cx="188566" cy="91573"/>
              </a:xfrm>
              <a:custGeom>
                <a:avLst/>
                <a:gdLst>
                  <a:gd name="connsiteX0" fmla="*/ 11744 w 188566"/>
                  <a:gd name="connsiteY0" fmla="*/ 91573 h 91573"/>
                  <a:gd name="connsiteX1" fmla="*/ 188566 w 188566"/>
                  <a:gd name="connsiteY1" fmla="*/ 91573 h 91573"/>
                  <a:gd name="connsiteX2" fmla="*/ 147361 w 188566"/>
                  <a:gd name="connsiteY2" fmla="*/ 0 h 91573"/>
                  <a:gd name="connsiteX3" fmla="*/ 0 w 188566"/>
                  <a:gd name="connsiteY3" fmla="*/ 0 h 91573"/>
                  <a:gd name="connsiteX4" fmla="*/ 11744 w 18856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66" h="91573">
                    <a:moveTo>
                      <a:pt x="11744" y="91573"/>
                    </a:moveTo>
                    <a:lnTo>
                      <a:pt x="188566" y="91573"/>
                    </a:lnTo>
                    <a:lnTo>
                      <a:pt x="147361" y="0"/>
                    </a:lnTo>
                    <a:lnTo>
                      <a:pt x="0" y="0"/>
                    </a:lnTo>
                    <a:lnTo>
                      <a:pt x="11744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CF997105-00AF-41BF-A201-F1E0B6DDC0C1}"/>
                  </a:ext>
                </a:extLst>
              </p:cNvPr>
              <p:cNvSpPr/>
              <p:nvPr/>
            </p:nvSpPr>
            <p:spPr>
              <a:xfrm>
                <a:off x="6888969" y="3639253"/>
                <a:ext cx="234372" cy="101546"/>
              </a:xfrm>
              <a:custGeom>
                <a:avLst/>
                <a:gdLst>
                  <a:gd name="connsiteX0" fmla="*/ 0 w 234372"/>
                  <a:gd name="connsiteY0" fmla="*/ 0 h 101546"/>
                  <a:gd name="connsiteX1" fmla="*/ 13011 w 234372"/>
                  <a:gd name="connsiteY1" fmla="*/ 101546 h 101546"/>
                  <a:gd name="connsiteX2" fmla="*/ 234363 w 234372"/>
                  <a:gd name="connsiteY2" fmla="*/ 101546 h 101546"/>
                  <a:gd name="connsiteX3" fmla="*/ 234363 w 234372"/>
                  <a:gd name="connsiteY3" fmla="*/ 100641 h 101546"/>
                  <a:gd name="connsiteX4" fmla="*/ 234372 w 234372"/>
                  <a:gd name="connsiteY4" fmla="*/ 100641 h 101546"/>
                  <a:gd name="connsiteX5" fmla="*/ 189081 w 234372"/>
                  <a:gd name="connsiteY5" fmla="*/ 0 h 101546"/>
                  <a:gd name="connsiteX6" fmla="*/ 0 w 234372"/>
                  <a:gd name="connsiteY6" fmla="*/ 0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4372" h="101546">
                    <a:moveTo>
                      <a:pt x="0" y="0"/>
                    </a:moveTo>
                    <a:lnTo>
                      <a:pt x="13011" y="101546"/>
                    </a:lnTo>
                    <a:lnTo>
                      <a:pt x="234363" y="101546"/>
                    </a:lnTo>
                    <a:lnTo>
                      <a:pt x="234363" y="100641"/>
                    </a:lnTo>
                    <a:lnTo>
                      <a:pt x="234372" y="100641"/>
                    </a:lnTo>
                    <a:lnTo>
                      <a:pt x="18908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64A690EE-A124-44D8-A82C-0A69BA241063}"/>
                  </a:ext>
                </a:extLst>
              </p:cNvPr>
              <p:cNvSpPr/>
              <p:nvPr/>
            </p:nvSpPr>
            <p:spPr>
              <a:xfrm>
                <a:off x="6699441" y="3390784"/>
                <a:ext cx="129606" cy="80695"/>
              </a:xfrm>
              <a:custGeom>
                <a:avLst/>
                <a:gdLst>
                  <a:gd name="connsiteX0" fmla="*/ 0 w 129606"/>
                  <a:gd name="connsiteY0" fmla="*/ 80696 h 80695"/>
                  <a:gd name="connsiteX1" fmla="*/ 129607 w 129606"/>
                  <a:gd name="connsiteY1" fmla="*/ 80696 h 80695"/>
                  <a:gd name="connsiteX2" fmla="*/ 119263 w 129606"/>
                  <a:gd name="connsiteY2" fmla="*/ 0 h 80695"/>
                  <a:gd name="connsiteX3" fmla="*/ 10344 w 129606"/>
                  <a:gd name="connsiteY3" fmla="*/ 0 h 80695"/>
                  <a:gd name="connsiteX4" fmla="*/ 0 w 129606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06" h="80695">
                    <a:moveTo>
                      <a:pt x="0" y="80696"/>
                    </a:moveTo>
                    <a:lnTo>
                      <a:pt x="129607" y="80696"/>
                    </a:lnTo>
                    <a:lnTo>
                      <a:pt x="119263" y="0"/>
                    </a:lnTo>
                    <a:lnTo>
                      <a:pt x="10344" y="0"/>
                    </a:lnTo>
                    <a:lnTo>
                      <a:pt x="0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E5A962D8-1A16-485F-B8AC-D6020CC0C6BA}"/>
                  </a:ext>
                </a:extLst>
              </p:cNvPr>
              <p:cNvSpPr/>
              <p:nvPr/>
            </p:nvSpPr>
            <p:spPr>
              <a:xfrm>
                <a:off x="6405157" y="3778899"/>
                <a:ext cx="718175" cy="209016"/>
              </a:xfrm>
              <a:custGeom>
                <a:avLst/>
                <a:gdLst>
                  <a:gd name="connsiteX0" fmla="*/ 718176 w 718175"/>
                  <a:gd name="connsiteY0" fmla="*/ 60750 h 209016"/>
                  <a:gd name="connsiteX1" fmla="*/ 718176 w 718175"/>
                  <a:gd name="connsiteY1" fmla="*/ 0 h 209016"/>
                  <a:gd name="connsiteX2" fmla="*/ 0 w 718175"/>
                  <a:gd name="connsiteY2" fmla="*/ 0 h 209016"/>
                  <a:gd name="connsiteX3" fmla="*/ 0 w 718175"/>
                  <a:gd name="connsiteY3" fmla="*/ 60750 h 209016"/>
                  <a:gd name="connsiteX4" fmla="*/ 330518 w 718175"/>
                  <a:gd name="connsiteY4" fmla="*/ 60750 h 209016"/>
                  <a:gd name="connsiteX5" fmla="*/ 330518 w 718175"/>
                  <a:gd name="connsiteY5" fmla="*/ 151867 h 209016"/>
                  <a:gd name="connsiteX6" fmla="*/ 229419 w 718175"/>
                  <a:gd name="connsiteY6" fmla="*/ 151867 h 209016"/>
                  <a:gd name="connsiteX7" fmla="*/ 229419 w 718175"/>
                  <a:gd name="connsiteY7" fmla="*/ 209017 h 209016"/>
                  <a:gd name="connsiteX8" fmla="*/ 488756 w 718175"/>
                  <a:gd name="connsiteY8" fmla="*/ 209017 h 209016"/>
                  <a:gd name="connsiteX9" fmla="*/ 488756 w 718175"/>
                  <a:gd name="connsiteY9" fmla="*/ 151867 h 209016"/>
                  <a:gd name="connsiteX10" fmla="*/ 387668 w 718175"/>
                  <a:gd name="connsiteY10" fmla="*/ 151867 h 209016"/>
                  <a:gd name="connsiteX11" fmla="*/ 387668 w 718175"/>
                  <a:gd name="connsiteY11" fmla="*/ 60750 h 209016"/>
                  <a:gd name="connsiteX12" fmla="*/ 718176 w 718175"/>
                  <a:gd name="connsiteY12" fmla="*/ 60750 h 209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8175" h="209016">
                    <a:moveTo>
                      <a:pt x="718176" y="60750"/>
                    </a:moveTo>
                    <a:lnTo>
                      <a:pt x="718176" y="0"/>
                    </a:lnTo>
                    <a:lnTo>
                      <a:pt x="0" y="0"/>
                    </a:lnTo>
                    <a:lnTo>
                      <a:pt x="0" y="60750"/>
                    </a:lnTo>
                    <a:lnTo>
                      <a:pt x="330518" y="60750"/>
                    </a:lnTo>
                    <a:lnTo>
                      <a:pt x="330518" y="151867"/>
                    </a:lnTo>
                    <a:lnTo>
                      <a:pt x="229419" y="151867"/>
                    </a:lnTo>
                    <a:lnTo>
                      <a:pt x="229419" y="209017"/>
                    </a:lnTo>
                    <a:lnTo>
                      <a:pt x="488756" y="209017"/>
                    </a:lnTo>
                    <a:lnTo>
                      <a:pt x="488756" y="151867"/>
                    </a:lnTo>
                    <a:lnTo>
                      <a:pt x="387668" y="151867"/>
                    </a:lnTo>
                    <a:lnTo>
                      <a:pt x="387668" y="60750"/>
                    </a:lnTo>
                    <a:lnTo>
                      <a:pt x="718176" y="607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C4710A41-CDD8-4AF4-A7C3-2094008CA62D}"/>
                  </a:ext>
                </a:extLst>
              </p:cNvPr>
              <p:cNvSpPr/>
              <p:nvPr/>
            </p:nvSpPr>
            <p:spPr>
              <a:xfrm>
                <a:off x="6467602" y="3509580"/>
                <a:ext cx="188556" cy="91573"/>
              </a:xfrm>
              <a:custGeom>
                <a:avLst/>
                <a:gdLst>
                  <a:gd name="connsiteX0" fmla="*/ 176813 w 188556"/>
                  <a:gd name="connsiteY0" fmla="*/ 91573 h 91573"/>
                  <a:gd name="connsiteX1" fmla="*/ 188557 w 188556"/>
                  <a:gd name="connsiteY1" fmla="*/ 0 h 91573"/>
                  <a:gd name="connsiteX2" fmla="*/ 41205 w 188556"/>
                  <a:gd name="connsiteY2" fmla="*/ 0 h 91573"/>
                  <a:gd name="connsiteX3" fmla="*/ 0 w 188556"/>
                  <a:gd name="connsiteY3" fmla="*/ 91573 h 91573"/>
                  <a:gd name="connsiteX4" fmla="*/ 176813 w 188556"/>
                  <a:gd name="connsiteY4" fmla="*/ 91573 h 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56" h="91573">
                    <a:moveTo>
                      <a:pt x="176813" y="91573"/>
                    </a:moveTo>
                    <a:lnTo>
                      <a:pt x="188557" y="0"/>
                    </a:lnTo>
                    <a:lnTo>
                      <a:pt x="41205" y="0"/>
                    </a:lnTo>
                    <a:lnTo>
                      <a:pt x="0" y="91573"/>
                    </a:lnTo>
                    <a:lnTo>
                      <a:pt x="176813" y="91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ECB7B866-51F2-4B44-BEF9-3236089FD773}"/>
                  </a:ext>
                </a:extLst>
              </p:cNvPr>
              <p:cNvSpPr/>
              <p:nvPr/>
            </p:nvSpPr>
            <p:spPr>
              <a:xfrm>
                <a:off x="6664922" y="3639253"/>
                <a:ext cx="198653" cy="101546"/>
              </a:xfrm>
              <a:custGeom>
                <a:avLst/>
                <a:gdLst>
                  <a:gd name="connsiteX0" fmla="*/ 198653 w 198653"/>
                  <a:gd name="connsiteY0" fmla="*/ 101546 h 101546"/>
                  <a:gd name="connsiteX1" fmla="*/ 185642 w 198653"/>
                  <a:gd name="connsiteY1" fmla="*/ 0 h 101546"/>
                  <a:gd name="connsiteX2" fmla="*/ 13021 w 198653"/>
                  <a:gd name="connsiteY2" fmla="*/ 0 h 101546"/>
                  <a:gd name="connsiteX3" fmla="*/ 0 w 198653"/>
                  <a:gd name="connsiteY3" fmla="*/ 101546 h 101546"/>
                  <a:gd name="connsiteX4" fmla="*/ 198653 w 198653"/>
                  <a:gd name="connsiteY4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653" h="101546">
                    <a:moveTo>
                      <a:pt x="198653" y="101546"/>
                    </a:moveTo>
                    <a:lnTo>
                      <a:pt x="185642" y="0"/>
                    </a:lnTo>
                    <a:lnTo>
                      <a:pt x="13021" y="0"/>
                    </a:lnTo>
                    <a:lnTo>
                      <a:pt x="0" y="101546"/>
                    </a:lnTo>
                    <a:lnTo>
                      <a:pt x="198653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782ACF3B-8865-4D1F-9AD3-33EADCEE1527}"/>
                  </a:ext>
                </a:extLst>
              </p:cNvPr>
              <p:cNvSpPr/>
              <p:nvPr/>
            </p:nvSpPr>
            <p:spPr>
              <a:xfrm>
                <a:off x="6405157" y="3639253"/>
                <a:ext cx="234372" cy="101546"/>
              </a:xfrm>
              <a:custGeom>
                <a:avLst/>
                <a:gdLst>
                  <a:gd name="connsiteX0" fmla="*/ 221361 w 234372"/>
                  <a:gd name="connsiteY0" fmla="*/ 101546 h 101546"/>
                  <a:gd name="connsiteX1" fmla="*/ 234372 w 234372"/>
                  <a:gd name="connsiteY1" fmla="*/ 0 h 101546"/>
                  <a:gd name="connsiteX2" fmla="*/ 45301 w 234372"/>
                  <a:gd name="connsiteY2" fmla="*/ 0 h 101546"/>
                  <a:gd name="connsiteX3" fmla="*/ 0 w 234372"/>
                  <a:gd name="connsiteY3" fmla="*/ 100641 h 101546"/>
                  <a:gd name="connsiteX4" fmla="*/ 0 w 234372"/>
                  <a:gd name="connsiteY4" fmla="*/ 101546 h 101546"/>
                  <a:gd name="connsiteX5" fmla="*/ 221361 w 234372"/>
                  <a:gd name="connsiteY5" fmla="*/ 101546 h 10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4372" h="101546">
                    <a:moveTo>
                      <a:pt x="221361" y="101546"/>
                    </a:moveTo>
                    <a:lnTo>
                      <a:pt x="234372" y="0"/>
                    </a:lnTo>
                    <a:lnTo>
                      <a:pt x="45301" y="0"/>
                    </a:lnTo>
                    <a:lnTo>
                      <a:pt x="0" y="100641"/>
                    </a:lnTo>
                    <a:lnTo>
                      <a:pt x="0" y="101546"/>
                    </a:lnTo>
                    <a:lnTo>
                      <a:pt x="221361" y="1015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76D6F4D7-C8E2-4A02-AC87-4DBA7953DF1B}"/>
                  </a:ext>
                </a:extLst>
              </p:cNvPr>
              <p:cNvSpPr/>
              <p:nvPr/>
            </p:nvSpPr>
            <p:spPr>
              <a:xfrm>
                <a:off x="6525953" y="3390784"/>
                <a:ext cx="145427" cy="80695"/>
              </a:xfrm>
              <a:custGeom>
                <a:avLst/>
                <a:gdLst>
                  <a:gd name="connsiteX0" fmla="*/ 135084 w 145427"/>
                  <a:gd name="connsiteY0" fmla="*/ 80696 h 80695"/>
                  <a:gd name="connsiteX1" fmla="*/ 145428 w 145427"/>
                  <a:gd name="connsiteY1" fmla="*/ 0 h 80695"/>
                  <a:gd name="connsiteX2" fmla="*/ 36319 w 145427"/>
                  <a:gd name="connsiteY2" fmla="*/ 0 h 80695"/>
                  <a:gd name="connsiteX3" fmla="*/ 0 w 145427"/>
                  <a:gd name="connsiteY3" fmla="*/ 80696 h 80695"/>
                  <a:gd name="connsiteX4" fmla="*/ 135084 w 145427"/>
                  <a:gd name="connsiteY4" fmla="*/ 80696 h 8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427" h="80695">
                    <a:moveTo>
                      <a:pt x="135084" y="80696"/>
                    </a:moveTo>
                    <a:lnTo>
                      <a:pt x="145428" y="0"/>
                    </a:lnTo>
                    <a:lnTo>
                      <a:pt x="36319" y="0"/>
                    </a:lnTo>
                    <a:lnTo>
                      <a:pt x="0" y="80696"/>
                    </a:lnTo>
                    <a:lnTo>
                      <a:pt x="135084" y="806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1185C53-C457-48F8-9BD7-B967063E36EC}"/>
              </a:ext>
            </a:extLst>
          </p:cNvPr>
          <p:cNvSpPr txBox="1"/>
          <p:nvPr/>
        </p:nvSpPr>
        <p:spPr>
          <a:xfrm rot="5400000">
            <a:off x="2831309" y="2809369"/>
            <a:ext cx="369332" cy="90950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2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asse n</a:t>
            </a:r>
          </a:p>
        </p:txBody>
      </p:sp>
      <p:sp>
        <p:nvSpPr>
          <p:cNvPr id="12" name="Geschweifte Klammer rechts 11">
            <a:extLst>
              <a:ext uri="{FF2B5EF4-FFF2-40B4-BE49-F238E27FC236}">
                <a16:creationId xmlns:a16="http://schemas.microsoft.com/office/drawing/2014/main" id="{B382C712-3F81-42FB-9A77-BEB4A7049B5C}"/>
              </a:ext>
            </a:extLst>
          </p:cNvPr>
          <p:cNvSpPr/>
          <p:nvPr/>
        </p:nvSpPr>
        <p:spPr>
          <a:xfrm>
            <a:off x="2255573" y="2858468"/>
            <a:ext cx="283764" cy="811306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98487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9AA99EB0-1C72-4E5F-BD2B-8580AA32C7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2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Klasse PV-Bat ist eine Erweiterung des Standard Prosumers und ergänzt diesen um einen Batteriespeicher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Technische Daten</a:t>
            </a:r>
          </a:p>
          <a:p>
            <a:r>
              <a:rPr lang="de-DE" sz="1400" dirty="0"/>
              <a:t>Zur Bestimmung der Nennleistung des Speichers wurden die Daten des Marktstammdatenregisters in die PV-Klassen Klein, Mittel, Groß eingeteilt und die </a:t>
            </a:r>
            <a:r>
              <a:rPr lang="de-DE" sz="1400" b="1" dirty="0"/>
              <a:t>mittlere Nennleistung für jede Klasse </a:t>
            </a:r>
            <a:r>
              <a:rPr lang="de-DE" sz="1400" dirty="0"/>
              <a:t>berechnet. </a:t>
            </a:r>
          </a:p>
          <a:p>
            <a:endParaRPr lang="de-DE" sz="1400" dirty="0"/>
          </a:p>
          <a:p>
            <a:r>
              <a:rPr lang="de-DE" sz="1400" dirty="0"/>
              <a:t>Die </a:t>
            </a:r>
            <a:r>
              <a:rPr lang="de-DE" sz="1400" b="1" dirty="0"/>
              <a:t>Speicherkapazität</a:t>
            </a:r>
            <a:r>
              <a:rPr lang="de-DE" sz="1400" dirty="0"/>
              <a:t> wurde so gewählt, dass die vollgeladene Batterie die Nennleistung für eine Stunde bereitstellen kann. (Ergebnis aus </a:t>
            </a:r>
            <a:r>
              <a:rPr lang="de-DE" sz="1400" dirty="0" err="1"/>
              <a:t>EnergyExpert</a:t>
            </a:r>
            <a:r>
              <a:rPr lang="de-DE" sz="1400" dirty="0"/>
              <a:t>)</a:t>
            </a:r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/>
              <a:t>Der </a:t>
            </a:r>
            <a:r>
              <a:rPr lang="de-DE" sz="1400" b="1" dirty="0"/>
              <a:t>Wirkungsgrad</a:t>
            </a:r>
            <a:r>
              <a:rPr lang="de-DE" sz="1400" dirty="0"/>
              <a:t> entspricht 0.94 für Laden und Entladen. (Ergebnis aus </a:t>
            </a:r>
            <a:r>
              <a:rPr lang="de-DE" sz="1400" dirty="0" err="1"/>
              <a:t>EnergyExpert</a:t>
            </a:r>
            <a:r>
              <a:rPr lang="de-DE" sz="1400" dirty="0"/>
              <a:t>)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4" y="2489560"/>
            <a:ext cx="6432095" cy="2959547"/>
            <a:chOff x="2679112" y="2303880"/>
            <a:chExt cx="6432095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3" y="3956968"/>
              <a:ext cx="2597804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C7C5B78-D973-4C23-9FA9-A71A2C495D64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V-Bat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ig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usrich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 PV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Jahresstromverbrau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Kapazität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0391FB-4092-4205-9852-09A27C92F9A8}"/>
              </a:ext>
            </a:extLst>
          </p:cNvPr>
          <p:cNvSpPr/>
          <p:nvPr/>
        </p:nvSpPr>
        <p:spPr>
          <a:xfrm>
            <a:off x="3215680" y="2583333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7" name="Grafik 34" descr="Solarmodule">
            <a:extLst>
              <a:ext uri="{FF2B5EF4-FFF2-40B4-BE49-F238E27FC236}">
                <a16:creationId xmlns:a16="http://schemas.microsoft.com/office/drawing/2014/main" id="{B9D9AE78-5808-4BF6-A6CA-5468A990D5CF}"/>
              </a:ext>
            </a:extLst>
          </p:cNvPr>
          <p:cNvGrpSpPr/>
          <p:nvPr/>
        </p:nvGrpSpPr>
        <p:grpSpPr>
          <a:xfrm>
            <a:off x="3625027" y="2521076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8979B47D-7407-4334-853C-FDD54279B742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F223CAD-D448-4D5F-B772-10C7A887ED42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0F332444-8533-4937-B355-5717D6914381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0BE7A0F-7F13-4645-8315-B7175F5A4A1A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C234D8C-420F-49E5-9E00-DEF5FFAA80DB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69D8455-A712-4FB1-95A0-2D23F83EB65D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E413562-6E67-47F9-8C98-5401249CFF07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61F46EC-1EAB-4529-9533-90A3D29DB264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14FD22EF-ED27-482C-982C-4015836D38EA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F9E8EFE4-BFD9-48E2-89B5-67EAB665F6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736BAFA-F66E-48DE-92AC-1AEFCD6A3D16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A40ABBF-20A8-47FC-924D-2E2ACE9C15A1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0364E59B-F2F6-44B0-8B85-1FE79C880BAB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7B59AD83-9552-4829-88A5-B251D1768BE9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1C00610-E8B2-42A9-B8CD-F0E653FA07AF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33C8584-8268-475F-A08D-A72CE5B0E063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0ED1E00-5EE8-420B-A1F8-B3150173AC0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FFEA0FA-9B25-4963-B68B-A2D2A7F61CCB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F69A300-B2A2-4CDC-A9DB-B834648A17BB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3" name="Textfeld 42">
            <a:extLst>
              <a:ext uri="{FF2B5EF4-FFF2-40B4-BE49-F238E27FC236}">
                <a16:creationId xmlns:a16="http://schemas.microsoft.com/office/drawing/2014/main" id="{9AAD3683-6799-42C9-911A-41BB83D3D143}"/>
              </a:ext>
            </a:extLst>
          </p:cNvPr>
          <p:cNvSpPr txBox="1"/>
          <p:nvPr/>
        </p:nvSpPr>
        <p:spPr>
          <a:xfrm>
            <a:off x="531930" y="5852242"/>
            <a:ext cx="6758196" cy="24622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>
            <a:spAutoFit/>
          </a:bodyPr>
          <a:lstStyle/>
          <a:p>
            <a:r>
              <a:rPr lang="de-DE" sz="1000" dirty="0">
                <a:latin typeface="+mj-lt"/>
              </a:rPr>
              <a:t>Quelle: https://www.volker-quaschning.de/artikel/2013-06-Dimensionierung-PV-Speicher/index.php</a:t>
            </a:r>
          </a:p>
        </p:txBody>
      </p:sp>
      <p:pic>
        <p:nvPicPr>
          <p:cNvPr id="3" name="Grafik 2" descr="Voller Akku">
            <a:extLst>
              <a:ext uri="{FF2B5EF4-FFF2-40B4-BE49-F238E27FC236}">
                <a16:creationId xmlns:a16="http://schemas.microsoft.com/office/drawing/2014/main" id="{8BE46F34-11C5-478A-802D-B73B8E69E3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13706" y="2596012"/>
            <a:ext cx="454133" cy="45413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84589C1-835F-464A-8BC4-97268B403F4D}"/>
              </a:ext>
            </a:extLst>
          </p:cNvPr>
          <p:cNvSpPr txBox="1"/>
          <p:nvPr/>
        </p:nvSpPr>
        <p:spPr>
          <a:xfrm rot="5400000">
            <a:off x="2831309" y="2809369"/>
            <a:ext cx="369332" cy="90950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2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asse n</a:t>
            </a:r>
          </a:p>
        </p:txBody>
      </p:sp>
      <p:sp>
        <p:nvSpPr>
          <p:cNvPr id="11" name="Geschweifte Klammer rechts 10">
            <a:extLst>
              <a:ext uri="{FF2B5EF4-FFF2-40B4-BE49-F238E27FC236}">
                <a16:creationId xmlns:a16="http://schemas.microsoft.com/office/drawing/2014/main" id="{5A0F260C-FAAC-4EC7-BED4-5A41EEDBD193}"/>
              </a:ext>
            </a:extLst>
          </p:cNvPr>
          <p:cNvSpPr/>
          <p:nvPr/>
        </p:nvSpPr>
        <p:spPr>
          <a:xfrm>
            <a:off x="2255573" y="2858468"/>
            <a:ext cx="283764" cy="811306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37714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00A04976-703E-4BF0-B44C-E00140AA39F3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3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er Einsatz des Speicher wird mit Hilfe einer Heuristik geplant. Die Abweichung zu dem entsprechenden Optimierungsmodel ist kleiner als 2 %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pPr marL="0" indent="0">
              <a:buNone/>
            </a:pPr>
            <a:r>
              <a:rPr lang="de-DE" sz="1400" dirty="0">
                <a:solidFill>
                  <a:schemeClr val="accent1"/>
                </a:solidFill>
              </a:rPr>
              <a:t>Verbrauch &gt; Einspeisung</a:t>
            </a:r>
          </a:p>
          <a:p>
            <a:r>
              <a:rPr lang="de-DE" sz="1400" dirty="0"/>
              <a:t>Speichervolumen = 0 	</a:t>
            </a:r>
          </a:p>
          <a:p>
            <a:pPr lvl="1"/>
            <a:r>
              <a:rPr lang="de-DE" sz="1200" dirty="0"/>
              <a:t>Keine Nutzung des Speichers</a:t>
            </a:r>
          </a:p>
          <a:p>
            <a:pPr lvl="1"/>
            <a:r>
              <a:rPr lang="de-DE" sz="1200" dirty="0"/>
              <a:t>Kompletter Netzbezug</a:t>
            </a:r>
          </a:p>
          <a:p>
            <a:r>
              <a:rPr lang="de-DE" sz="1400" dirty="0"/>
              <a:t>Speichervolumen &lt; Rest	</a:t>
            </a:r>
          </a:p>
          <a:p>
            <a:pPr lvl="1"/>
            <a:r>
              <a:rPr lang="de-DE" sz="1200" dirty="0"/>
              <a:t>Nutze das vorhandene Speichervolumen</a:t>
            </a:r>
          </a:p>
          <a:p>
            <a:pPr lvl="1"/>
            <a:r>
              <a:rPr lang="de-DE" sz="1200" dirty="0"/>
              <a:t>Volumen = 0</a:t>
            </a:r>
          </a:p>
          <a:p>
            <a:pPr lvl="1"/>
            <a:r>
              <a:rPr lang="de-DE" sz="1200" dirty="0"/>
              <a:t>Teilweise Netzbezug</a:t>
            </a:r>
          </a:p>
          <a:p>
            <a:r>
              <a:rPr lang="de-DE" sz="1400" dirty="0"/>
              <a:t>Speichervolumen &gt; Rest	</a:t>
            </a:r>
          </a:p>
          <a:p>
            <a:pPr lvl="1"/>
            <a:r>
              <a:rPr lang="de-DE" sz="1200" dirty="0"/>
              <a:t>Nutze das vorhandene Speichervolumen</a:t>
            </a:r>
          </a:p>
          <a:p>
            <a:pPr lvl="1"/>
            <a:r>
              <a:rPr lang="de-DE" sz="1200" dirty="0"/>
              <a:t>Volumen = Volumen – Bedarf</a:t>
            </a:r>
          </a:p>
          <a:p>
            <a:pPr lvl="1"/>
            <a:r>
              <a:rPr lang="de-DE" sz="1200" dirty="0"/>
              <a:t>Kein Netzbezug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4" y="2489560"/>
            <a:ext cx="6596691" cy="2959547"/>
            <a:chOff x="2679112" y="2303880"/>
            <a:chExt cx="6596691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2" y="3956968"/>
              <a:ext cx="2762401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C7C5B78-D973-4C23-9FA9-A71A2C495D64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V-Bat</a:t>
              </a: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ig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usrich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Jahresstromverbrau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Kapazität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0391FB-4092-4205-9852-09A27C92F9A8}"/>
              </a:ext>
            </a:extLst>
          </p:cNvPr>
          <p:cNvSpPr/>
          <p:nvPr/>
        </p:nvSpPr>
        <p:spPr>
          <a:xfrm>
            <a:off x="3215680" y="2583333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7" name="Grafik 34" descr="Solarmodule">
            <a:extLst>
              <a:ext uri="{FF2B5EF4-FFF2-40B4-BE49-F238E27FC236}">
                <a16:creationId xmlns:a16="http://schemas.microsoft.com/office/drawing/2014/main" id="{B9D9AE78-5808-4BF6-A6CA-5468A990D5CF}"/>
              </a:ext>
            </a:extLst>
          </p:cNvPr>
          <p:cNvGrpSpPr/>
          <p:nvPr/>
        </p:nvGrpSpPr>
        <p:grpSpPr>
          <a:xfrm>
            <a:off x="3625027" y="2521076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8979B47D-7407-4334-853C-FDD54279B742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F223CAD-D448-4D5F-B772-10C7A887ED42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0F332444-8533-4937-B355-5717D6914381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0BE7A0F-7F13-4645-8315-B7175F5A4A1A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C234D8C-420F-49E5-9E00-DEF5FFAA80DB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69D8455-A712-4FB1-95A0-2D23F83EB65D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E413562-6E67-47F9-8C98-5401249CFF07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61F46EC-1EAB-4529-9533-90A3D29DB264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14FD22EF-ED27-482C-982C-4015836D38EA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F9E8EFE4-BFD9-48E2-89B5-67EAB665F6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736BAFA-F66E-48DE-92AC-1AEFCD6A3D16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A40ABBF-20A8-47FC-924D-2E2ACE9C15A1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0364E59B-F2F6-44B0-8B85-1FE79C880BAB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7B59AD83-9552-4829-88A5-B251D1768BE9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1C00610-E8B2-42A9-B8CD-F0E653FA07AF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33C8584-8268-475F-A08D-A72CE5B0E063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0ED1E00-5EE8-420B-A1F8-B3150173AC0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FFEA0FA-9B25-4963-B68B-A2D2A7F61CCB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F69A300-B2A2-4CDC-A9DB-B834648A17BB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afik 2" descr="Voller Akku">
            <a:extLst>
              <a:ext uri="{FF2B5EF4-FFF2-40B4-BE49-F238E27FC236}">
                <a16:creationId xmlns:a16="http://schemas.microsoft.com/office/drawing/2014/main" id="{F2BC461B-BA44-4104-BA58-1DFEC61B2E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13706" y="2596012"/>
            <a:ext cx="454133" cy="45413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1A7C984-CB57-4F04-9ADC-18301154944C}"/>
              </a:ext>
            </a:extLst>
          </p:cNvPr>
          <p:cNvSpPr txBox="1"/>
          <p:nvPr/>
        </p:nvSpPr>
        <p:spPr>
          <a:xfrm rot="5400000">
            <a:off x="2831309" y="2809369"/>
            <a:ext cx="369332" cy="90950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2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asse n</a:t>
            </a:r>
          </a:p>
        </p:txBody>
      </p:sp>
      <p:sp>
        <p:nvSpPr>
          <p:cNvPr id="11" name="Geschweifte Klammer rechts 10">
            <a:extLst>
              <a:ext uri="{FF2B5EF4-FFF2-40B4-BE49-F238E27FC236}">
                <a16:creationId xmlns:a16="http://schemas.microsoft.com/office/drawing/2014/main" id="{AD6D04D1-6037-4829-A14A-F1220F742702}"/>
              </a:ext>
            </a:extLst>
          </p:cNvPr>
          <p:cNvSpPr/>
          <p:nvPr/>
        </p:nvSpPr>
        <p:spPr>
          <a:xfrm>
            <a:off x="2255573" y="2858468"/>
            <a:ext cx="283764" cy="811306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289346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07B10FA1-BB44-4C00-9B35-7FEDF75F4A90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4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er Einsatz des Speicher wird mit Hilfe einer Heuristik geplant. Die Abweichung zu dem entsprechenden Optimierungsmodel ist kleiner als 2 %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12280" y="1963316"/>
            <a:ext cx="4602120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pPr marL="0" indent="0">
              <a:buNone/>
            </a:pPr>
            <a:r>
              <a:rPr lang="de-DE" sz="1400" dirty="0">
                <a:solidFill>
                  <a:schemeClr val="accent1"/>
                </a:solidFill>
              </a:rPr>
              <a:t>Verbrauch &lt; Einspeisung</a:t>
            </a:r>
          </a:p>
          <a:p>
            <a:r>
              <a:rPr lang="de-DE" sz="1400" dirty="0"/>
              <a:t>Speichervolumen = Max 	</a:t>
            </a:r>
          </a:p>
          <a:p>
            <a:pPr lvl="1"/>
            <a:r>
              <a:rPr lang="de-DE" sz="1200" dirty="0"/>
              <a:t>Keine Nutzung möglich</a:t>
            </a:r>
          </a:p>
          <a:p>
            <a:pPr lvl="1"/>
            <a:r>
              <a:rPr lang="de-DE" sz="1200" dirty="0"/>
              <a:t>Komplette Netzeinspeisung</a:t>
            </a:r>
          </a:p>
          <a:p>
            <a:r>
              <a:rPr lang="de-DE" sz="1400" dirty="0"/>
              <a:t>Max - Speichervolumen &lt; Rest	</a:t>
            </a:r>
          </a:p>
          <a:p>
            <a:pPr lvl="1"/>
            <a:r>
              <a:rPr lang="de-DE" sz="1200" dirty="0"/>
              <a:t>Nutze das vorhandene Speichervolumen</a:t>
            </a:r>
          </a:p>
          <a:p>
            <a:pPr lvl="1"/>
            <a:r>
              <a:rPr lang="de-DE" sz="1200" dirty="0"/>
              <a:t>Volumen = Max</a:t>
            </a:r>
          </a:p>
          <a:p>
            <a:pPr lvl="1"/>
            <a:r>
              <a:rPr lang="de-DE" sz="1200" dirty="0"/>
              <a:t>Teilweise Netzeinspeisung</a:t>
            </a:r>
          </a:p>
          <a:p>
            <a:r>
              <a:rPr lang="de-DE" sz="1400" dirty="0"/>
              <a:t>Speichervolumen &gt; Rest	</a:t>
            </a:r>
          </a:p>
          <a:p>
            <a:pPr lvl="1"/>
            <a:r>
              <a:rPr lang="de-DE" sz="1200" dirty="0"/>
              <a:t>Nutze das vorhandene Speichervolumen</a:t>
            </a:r>
          </a:p>
          <a:p>
            <a:pPr lvl="1"/>
            <a:r>
              <a:rPr lang="de-DE" sz="1200" dirty="0"/>
              <a:t>Volumen = Volumen + Einspeisung</a:t>
            </a:r>
          </a:p>
          <a:p>
            <a:pPr lvl="1"/>
            <a:r>
              <a:rPr lang="de-DE" sz="1200" dirty="0"/>
              <a:t>Keine Netzeinspeisung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4" y="2489560"/>
            <a:ext cx="6596691" cy="2959547"/>
            <a:chOff x="2679112" y="2303880"/>
            <a:chExt cx="6596691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892552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tter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2" y="3956968"/>
              <a:ext cx="2762401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C7C5B78-D973-4C23-9FA9-A71A2C495D64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V-Bat</a:t>
              </a: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ig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usricht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Jahresstromverbrauch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ennleistung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Kapazität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Wirkungsgrad Batterie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0391FB-4092-4205-9852-09A27C92F9A8}"/>
              </a:ext>
            </a:extLst>
          </p:cNvPr>
          <p:cNvSpPr/>
          <p:nvPr/>
        </p:nvSpPr>
        <p:spPr>
          <a:xfrm>
            <a:off x="3215680" y="2583333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7" name="Grafik 34" descr="Solarmodule">
            <a:extLst>
              <a:ext uri="{FF2B5EF4-FFF2-40B4-BE49-F238E27FC236}">
                <a16:creationId xmlns:a16="http://schemas.microsoft.com/office/drawing/2014/main" id="{B9D9AE78-5808-4BF6-A6CA-5468A990D5CF}"/>
              </a:ext>
            </a:extLst>
          </p:cNvPr>
          <p:cNvGrpSpPr/>
          <p:nvPr/>
        </p:nvGrpSpPr>
        <p:grpSpPr>
          <a:xfrm>
            <a:off x="3625027" y="2521076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8979B47D-7407-4334-853C-FDD54279B742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F223CAD-D448-4D5F-B772-10C7A887ED42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0F332444-8533-4937-B355-5717D6914381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0BE7A0F-7F13-4645-8315-B7175F5A4A1A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C234D8C-420F-49E5-9E00-DEF5FFAA80DB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69D8455-A712-4FB1-95A0-2D23F83EB65D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E413562-6E67-47F9-8C98-5401249CFF07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961F46EC-1EAB-4529-9533-90A3D29DB264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14FD22EF-ED27-482C-982C-4015836D38EA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F9E8EFE4-BFD9-48E2-89B5-67EAB665F6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736BAFA-F66E-48DE-92AC-1AEFCD6A3D16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A40ABBF-20A8-47FC-924D-2E2ACE9C15A1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0364E59B-F2F6-44B0-8B85-1FE79C880BAB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7B59AD83-9552-4829-88A5-B251D1768BE9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1C00610-E8B2-42A9-B8CD-F0E653FA07AF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33C8584-8268-475F-A08D-A72CE5B0E063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0ED1E00-5EE8-420B-A1F8-B3150173AC0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FFEA0FA-9B25-4963-B68B-A2D2A7F61CCB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F69A300-B2A2-4CDC-A9DB-B834648A17BB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afik 2" descr="Voller Akku">
            <a:extLst>
              <a:ext uri="{FF2B5EF4-FFF2-40B4-BE49-F238E27FC236}">
                <a16:creationId xmlns:a16="http://schemas.microsoft.com/office/drawing/2014/main" id="{F2BC461B-BA44-4104-BA58-1DFEC61B2E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13706" y="2596012"/>
            <a:ext cx="454133" cy="45413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0BBE117-4335-4D19-9C6A-7658082A3E95}"/>
              </a:ext>
            </a:extLst>
          </p:cNvPr>
          <p:cNvSpPr txBox="1"/>
          <p:nvPr/>
        </p:nvSpPr>
        <p:spPr>
          <a:xfrm rot="5400000">
            <a:off x="2831309" y="2809369"/>
            <a:ext cx="369332" cy="909505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vert270"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2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asse n</a:t>
            </a:r>
          </a:p>
        </p:txBody>
      </p:sp>
      <p:sp>
        <p:nvSpPr>
          <p:cNvPr id="11" name="Geschweifte Klammer rechts 10">
            <a:extLst>
              <a:ext uri="{FF2B5EF4-FFF2-40B4-BE49-F238E27FC236}">
                <a16:creationId xmlns:a16="http://schemas.microsoft.com/office/drawing/2014/main" id="{0E918082-8F4B-491D-ADBC-C13C8DF9205D}"/>
              </a:ext>
            </a:extLst>
          </p:cNvPr>
          <p:cNvSpPr/>
          <p:nvPr/>
        </p:nvSpPr>
        <p:spPr>
          <a:xfrm>
            <a:off x="2255573" y="2858468"/>
            <a:ext cx="283764" cy="811306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76487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1CE2C2C-3663-4E69-8328-1E186B896824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0315F-83B4-4990-B9D7-3079BCDBF7E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B67E18BB-3BF3-465F-818A-DE2F40E769E6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3381C8-8CB7-422E-BE44-DE4C12B001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B37FA1-E355-4FB9-990F-3D7ECD55CB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5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EE89DC7-948B-4156-A504-D511BB4173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Für die klassischen Consumer aus den Sektoren Haushalt und Gewerbe werden Standlastprofile zur Modellierung der Nachfrage verwendet.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5966AEA6-884C-40CF-A2C5-ADBBDCA416F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22492" y="1963316"/>
            <a:ext cx="4591907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/>
              <a:t>Optimaler Dispatch</a:t>
            </a:r>
          </a:p>
          <a:p>
            <a:r>
              <a:rPr lang="de-DE" sz="1400" dirty="0"/>
              <a:t>Der Verbrauch der Consumer wird mit Hilfe von Standardlastprofilen berechnet.</a:t>
            </a:r>
          </a:p>
          <a:p>
            <a:pPr lvl="1"/>
            <a:r>
              <a:rPr lang="de-DE" sz="1200" dirty="0"/>
              <a:t>Profil H0</a:t>
            </a:r>
          </a:p>
          <a:p>
            <a:pPr lvl="1"/>
            <a:r>
              <a:rPr lang="de-DE" sz="1200" dirty="0"/>
              <a:t>Profil G0</a:t>
            </a: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/>
              <a:t>Die Profile werden mit Gesamtenergiebedarf der Sektoren in dem jeweiligen Gebiet skaliert.</a:t>
            </a:r>
          </a:p>
          <a:p>
            <a:endParaRPr lang="de-DE" sz="1400" dirty="0"/>
          </a:p>
          <a:p>
            <a:r>
              <a:rPr lang="de-DE" sz="1400" dirty="0"/>
              <a:t>Die Energiemenge des </a:t>
            </a:r>
            <a:r>
              <a:rPr lang="de-DE" sz="1400" dirty="0" err="1"/>
              <a:t>Consumers</a:t>
            </a:r>
            <a:r>
              <a:rPr lang="de-DE" sz="1400" dirty="0"/>
              <a:t> H0 wird um den Anteil der </a:t>
            </a:r>
            <a:r>
              <a:rPr lang="de-DE" sz="1400" dirty="0" err="1"/>
              <a:t>Prosumer</a:t>
            </a:r>
            <a:r>
              <a:rPr lang="de-DE" sz="1400" dirty="0"/>
              <a:t> PV-Solo und PV-Bat reduziert.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5E1D83F-CCE9-4BE8-B470-250B71BDA70E}"/>
              </a:ext>
            </a:extLst>
          </p:cNvPr>
          <p:cNvGrpSpPr/>
          <p:nvPr/>
        </p:nvGrpSpPr>
        <p:grpSpPr>
          <a:xfrm>
            <a:off x="525284" y="2489560"/>
            <a:ext cx="6596691" cy="2959547"/>
            <a:chOff x="2679112" y="2303880"/>
            <a:chExt cx="6596691" cy="295954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8E2B1B4-AF61-4649-9024-FCE917B6A0F9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011350D6-7278-48FD-BCF8-CD5AF416BD86}"/>
                </a:ext>
              </a:extLst>
            </p:cNvPr>
            <p:cNvSpPr txBox="1"/>
            <p:nvPr/>
          </p:nvSpPr>
          <p:spPr>
            <a:xfrm>
              <a:off x="6513402" y="3956968"/>
              <a:ext cx="2762401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C7C5B78-D973-4C23-9FA9-A71A2C495D64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onsumer H0</a:t>
              </a:r>
              <a:endParaRPr lang="de-DE" sz="16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Jahresstromverbrauch</a:t>
              </a:r>
              <a:b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kaliert anhand der Bruttowertschöpfung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onsumer G0</a:t>
              </a: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Jahresstromverbrauch</a:t>
              </a:r>
              <a:b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kaliert anhand der Bruttowertschöpfung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Pfeil: nach oben 24">
              <a:extLst>
                <a:ext uri="{FF2B5EF4-FFF2-40B4-BE49-F238E27FC236}">
                  <a16:creationId xmlns:a16="http://schemas.microsoft.com/office/drawing/2014/main" id="{74D61165-8F1F-4218-AFAE-E6281D7F47BB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Pfeil: nach oben 25">
              <a:extLst>
                <a:ext uri="{FF2B5EF4-FFF2-40B4-BE49-F238E27FC236}">
                  <a16:creationId xmlns:a16="http://schemas.microsoft.com/office/drawing/2014/main" id="{091C1A7F-1738-49CA-859B-5CE00DE13BF6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5B0391FB-4092-4205-9852-09A27C92F9A8}"/>
              </a:ext>
            </a:extLst>
          </p:cNvPr>
          <p:cNvSpPr/>
          <p:nvPr/>
        </p:nvSpPr>
        <p:spPr>
          <a:xfrm>
            <a:off x="3721328" y="2598405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3" name="Grafik 2" descr="Einkaufskorb">
            <a:extLst>
              <a:ext uri="{FF2B5EF4-FFF2-40B4-BE49-F238E27FC236}">
                <a16:creationId xmlns:a16="http://schemas.microsoft.com/office/drawing/2014/main" id="{FA985CAB-C737-4202-9642-EC9194A11D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75718" y="3953943"/>
            <a:ext cx="477658" cy="477658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3A773DD7-49E9-4902-B977-0D6DF85694FB}"/>
              </a:ext>
            </a:extLst>
          </p:cNvPr>
          <p:cNvSpPr txBox="1"/>
          <p:nvPr/>
        </p:nvSpPr>
        <p:spPr>
          <a:xfrm>
            <a:off x="525283" y="5796523"/>
            <a:ext cx="4182410" cy="24622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>
            <a:spAutoFit/>
          </a:bodyPr>
          <a:lstStyle/>
          <a:p>
            <a:r>
              <a:rPr lang="de-DE" sz="1000" dirty="0">
                <a:latin typeface="+mj-lt"/>
              </a:rPr>
              <a:t>Quelle: https://de.wikipedia.org/wiki/Datei:Slp_h0_winter.jpg</a:t>
            </a:r>
          </a:p>
        </p:txBody>
      </p:sp>
    </p:spTree>
    <p:extLst>
      <p:ext uri="{BB962C8B-B14F-4D97-AF65-F5344CB8AC3E}">
        <p14:creationId xmlns:p14="http://schemas.microsoft.com/office/powerpoint/2010/main" val="147754778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BA304C5-A340-4841-A513-722213C792E3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4924FE-0863-412F-8E75-01AF9127035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FFBD0218-73DC-4B46-BB52-85375D6D3F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1B8085-9F12-4B00-8247-BE8835EA89F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E8A6FF-727A-47A8-B341-6F90AE9FBA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6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6F3271-84A4-48CA-A89F-EFFDFC85AC0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Zur Modellierung der RLM-Kunden wurde ein synthetisches Lastprofil entwickelt.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83D1E49-AC2F-4689-8D9C-1B3F2E97BF56}"/>
              </a:ext>
            </a:extLst>
          </p:cNvPr>
          <p:cNvGrpSpPr/>
          <p:nvPr/>
        </p:nvGrpSpPr>
        <p:grpSpPr>
          <a:xfrm>
            <a:off x="525284" y="2489560"/>
            <a:ext cx="6596691" cy="2959547"/>
            <a:chOff x="2679112" y="2303880"/>
            <a:chExt cx="6596691" cy="2959547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F4F5F777-E075-4DB1-BF9E-DB4558D1CEE8}"/>
                </a:ext>
              </a:extLst>
            </p:cNvPr>
            <p:cNvSpPr txBox="1"/>
            <p:nvPr/>
          </p:nvSpPr>
          <p:spPr>
            <a:xfrm>
              <a:off x="6523773" y="2303880"/>
              <a:ext cx="2452547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tum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B7C59FE1-2593-471D-924F-592EC35C83D3}"/>
                </a:ext>
              </a:extLst>
            </p:cNvPr>
            <p:cNvSpPr txBox="1"/>
            <p:nvPr/>
          </p:nvSpPr>
          <p:spPr>
            <a:xfrm>
              <a:off x="6513402" y="3956968"/>
              <a:ext cx="2762401" cy="600164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put</a:t>
              </a:r>
              <a:endPara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b="1" kern="0" dirty="0" err="1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</a:t>
              </a:r>
              <a:r>
                <a:rPr lang="de-DE" sz="14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. Dispatch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39E31556-5CC0-4949-A138-0EF6FDC6B1E8}"/>
                </a:ext>
              </a:extLst>
            </p:cNvPr>
            <p:cNvSpPr/>
            <p:nvPr/>
          </p:nvSpPr>
          <p:spPr>
            <a:xfrm rot="16200000">
              <a:off x="3038070" y="1949976"/>
              <a:ext cx="2954493" cy="3672410"/>
            </a:xfrm>
            <a:prstGeom prst="rect">
              <a:avLst/>
            </a:prstGeom>
            <a:ln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t"/>
            <a:lstStyle/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r>
                <a:rPr lang="de-DE" sz="1400" b="1" kern="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onsumer RLM</a:t>
              </a:r>
              <a:endParaRPr lang="de-DE" sz="16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  <a:p>
              <a:pPr marL="285750" indent="-285750"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  <a:buFont typeface="Wingdings" panose="05000000000000000000" pitchFamily="2" charset="2"/>
                <a:buChar char="§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Jahresstromverbrauch</a:t>
              </a:r>
              <a:b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kaliert anhand der Bruttowertschöpfung</a:t>
              </a:r>
            </a:p>
            <a:p>
              <a:pPr fontAlgn="auto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SzPct val="140000"/>
              </a:pPr>
              <a:endParaRPr lang="de-DE" sz="16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" name="Pfeil: nach oben 11">
              <a:extLst>
                <a:ext uri="{FF2B5EF4-FFF2-40B4-BE49-F238E27FC236}">
                  <a16:creationId xmlns:a16="http://schemas.microsoft.com/office/drawing/2014/main" id="{29B65B83-0294-43F2-929D-C0509FF84693}"/>
                </a:ext>
              </a:extLst>
            </p:cNvPr>
            <p:cNvSpPr/>
            <p:nvPr/>
          </p:nvSpPr>
          <p:spPr>
            <a:xfrm rot="16200000">
              <a:off x="6087867" y="3050118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Pfeil: nach oben 12">
              <a:extLst>
                <a:ext uri="{FF2B5EF4-FFF2-40B4-BE49-F238E27FC236}">
                  <a16:creationId xmlns:a16="http://schemas.microsoft.com/office/drawing/2014/main" id="{085AEBEA-5912-4075-97D4-AF5C23F44E95}"/>
                </a:ext>
              </a:extLst>
            </p:cNvPr>
            <p:cNvSpPr/>
            <p:nvPr/>
          </p:nvSpPr>
          <p:spPr>
            <a:xfrm rot="5400000">
              <a:off x="6071560" y="4306153"/>
              <a:ext cx="360040" cy="468000"/>
            </a:xfrm>
            <a:prstGeom prst="upArrow">
              <a:avLst/>
            </a:prstGeom>
            <a:solidFill>
              <a:schemeClr val="accent3"/>
            </a:solidFill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5" name="Grafik 14" descr="Produktion">
            <a:extLst>
              <a:ext uri="{FF2B5EF4-FFF2-40B4-BE49-F238E27FC236}">
                <a16:creationId xmlns:a16="http://schemas.microsoft.com/office/drawing/2014/main" id="{69E45208-7CD4-4ADC-832D-A18826ACE4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61581" y="2523093"/>
            <a:ext cx="533097" cy="53309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platzhalter 9">
                <a:extLst>
                  <a:ext uri="{FF2B5EF4-FFF2-40B4-BE49-F238E27FC236}">
                    <a16:creationId xmlns:a16="http://schemas.microsoft.com/office/drawing/2014/main" id="{3B746FDA-26DF-41FB-87C6-B496D44CDC8B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6822492" y="1963316"/>
                <a:ext cx="4591907" cy="40120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285750" indent="-285750" algn="l" rtl="0" eaLnBrk="1" fontAlgn="base" hangingPunct="1">
                  <a:spcBef>
                    <a:spcPct val="20000"/>
                  </a:spcBef>
                  <a:spcAft>
                    <a:spcPts val="600"/>
                  </a:spcAft>
                  <a:buClr>
                    <a:srgbClr val="00B1AC"/>
                  </a:buClr>
                  <a:buFont typeface="Wingdings" pitchFamily="2" charset="2"/>
                  <a:buChar char="n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ts val="60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85850" indent="-171450" algn="l" rtl="0" eaLnBrk="1" fontAlgn="base" hangingPunct="1">
                  <a:spcBef>
                    <a:spcPct val="20000"/>
                  </a:spcBef>
                  <a:spcAft>
                    <a:spcPts val="60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43050" indent="-171450" algn="l" rtl="0" eaLnBrk="1" fontAlgn="base" hangingPunct="1">
                  <a:spcBef>
                    <a:spcPct val="20000"/>
                  </a:spcBef>
                  <a:spcAft>
                    <a:spcPts val="60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00250" indent="-171450" algn="l" rtl="0" eaLnBrk="1" fontAlgn="base" hangingPunct="1">
                  <a:spcBef>
                    <a:spcPct val="20000"/>
                  </a:spcBef>
                  <a:spcAft>
                    <a:spcPts val="600"/>
                  </a:spcAft>
                  <a:buClr>
                    <a:srgbClr val="7F7F7F"/>
                  </a:buClr>
                  <a:buFont typeface="Wingdings" pitchFamily="2" charset="2"/>
                  <a:buChar char="n"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Wingdings" pitchFamily="2" charset="2"/>
                  <a:buNone/>
                </a:pPr>
                <a:r>
                  <a:rPr lang="de-DE" sz="1400" b="1" dirty="0"/>
                  <a:t>Optimaler Dispatch</a:t>
                </a:r>
              </a:p>
              <a:p>
                <a:r>
                  <a:rPr lang="de-DE" sz="1400" dirty="0"/>
                  <a:t>Um ein entsprechendes RLM-Profil zu entwickeln, wurde von der Gesamtlast die bekannten Anteile abgezogen:</a:t>
                </a:r>
                <a:br>
                  <a:rPr lang="de-DE" sz="1400" dirty="0"/>
                </a:br>
                <a:r>
                  <a:rPr lang="de-DE" sz="1000" dirty="0"/>
                  <a:t>   </a:t>
                </a:r>
                <a:br>
                  <a:rPr lang="de-DE" sz="1400" dirty="0"/>
                </a:b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𝑅𝐿𝑀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𝐺𝑒𝑠𝑎𝑚𝑡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𝐺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𝑉𝑆𝑜𝑙𝑜</m:t>
                        </m:r>
                      </m:sub>
                    </m:sSub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𝑃</m:t>
                    </m:r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𝑃𝑉𝐵𝑎𝑡</m:t>
                        </m:r>
                      </m:sub>
                    </m:sSub>
                  </m:oMath>
                </a14:m>
                <a:endParaRPr lang="de-DE" sz="1200" b="0" dirty="0"/>
              </a:p>
              <a:p>
                <a:pPr marL="0" indent="0">
                  <a:buNone/>
                </a:pPr>
                <a:r>
                  <a:rPr lang="de-DE" sz="100" b="0" dirty="0"/>
                  <a:t> </a:t>
                </a:r>
              </a:p>
              <a:p>
                <a:r>
                  <a:rPr lang="de-DE" sz="1400" b="0" dirty="0"/>
                  <a:t>Anschließend wurde ein Typtageverfahren analog zu den synthetischen Profilen des BDEW durchgeführt.</a:t>
                </a:r>
              </a:p>
              <a:p>
                <a:pPr lvl="1"/>
                <a:r>
                  <a:rPr lang="de-DE" sz="1200" dirty="0"/>
                  <a:t>Sommer mit Werktag, Samstag, Sonntag</a:t>
                </a:r>
              </a:p>
              <a:p>
                <a:pPr lvl="1"/>
                <a:r>
                  <a:rPr lang="de-DE" sz="1200" b="0" dirty="0"/>
                  <a:t>Winter mit Werktag, Samstag, Sonntag</a:t>
                </a:r>
              </a:p>
              <a:p>
                <a:pPr lvl="1"/>
                <a:r>
                  <a:rPr lang="de-DE" sz="1200" dirty="0"/>
                  <a:t>Übergang mit </a:t>
                </a:r>
                <a:r>
                  <a:rPr lang="de-DE" sz="1200" b="0" dirty="0"/>
                  <a:t>Werktag, Samstag, Sonntag</a:t>
                </a:r>
              </a:p>
              <a:p>
                <a:pPr lvl="1"/>
                <a:endParaRPr lang="de-DE" sz="1200" b="0" dirty="0"/>
              </a:p>
              <a:p>
                <a:r>
                  <a:rPr lang="de-DE" sz="1400" dirty="0"/>
                  <a:t>Zur Berechnung der Nachfrage wurde das Profil mit dem Jahresenergieverbrauch des Gebietes skaliert.</a:t>
                </a:r>
                <a:endParaRPr lang="de-DE" sz="1400" b="0" dirty="0"/>
              </a:p>
              <a:p>
                <a:pPr lvl="1"/>
                <a:endParaRPr lang="de-DE" sz="1200" dirty="0"/>
              </a:p>
            </p:txBody>
          </p:sp>
        </mc:Choice>
        <mc:Fallback xmlns="">
          <p:sp>
            <p:nvSpPr>
              <p:cNvPr id="17" name="Textplatzhalter 9">
                <a:extLst>
                  <a:ext uri="{FF2B5EF4-FFF2-40B4-BE49-F238E27FC236}">
                    <a16:creationId xmlns:a16="http://schemas.microsoft.com/office/drawing/2014/main" id="{3B746FDA-26DF-41FB-87C6-B496D44CDC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22492" y="1963316"/>
                <a:ext cx="4591907" cy="4012037"/>
              </a:xfrm>
              <a:prstGeom prst="rect">
                <a:avLst/>
              </a:prstGeom>
              <a:blipFill>
                <a:blip r:embed="rId4"/>
                <a:stretch>
                  <a:fillRect l="-398" t="-304" b="-6991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101957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86A0FE28-7F8E-4236-ABC9-938EABF1FDA7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7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Aus den optimalen Fahrplänen des Portfolios wird anschließend ein Orderbuch zur Vermarktung am </a:t>
            </a:r>
            <a:r>
              <a:rPr lang="de-DE" dirty="0" err="1"/>
              <a:t>DayAhead</a:t>
            </a:r>
            <a:r>
              <a:rPr lang="de-DE" dirty="0"/>
              <a:t> Markt erstellt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DEM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 err="1"/>
                <a:t>DayAhead</a:t>
              </a:r>
              <a:r>
                <a:rPr lang="de-DE" sz="1400" b="1" dirty="0"/>
                <a:t> Markt</a:t>
              </a:r>
            </a:p>
          </p:txBody>
        </p:sp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Ökon. Kenngrößen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32328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. &amp; ökon.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31837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uschläg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je Stunde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5446" y="38981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erbuch</a:t>
              </a: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851441" y="235051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</p:grp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4201EBA-10A1-43F3-8E3F-90D960B9F44D}"/>
              </a:ext>
            </a:extLst>
          </p:cNvPr>
          <p:cNvSpPr/>
          <p:nvPr/>
        </p:nvSpPr>
        <p:spPr>
          <a:xfrm>
            <a:off x="1746201" y="4833568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0" name="Grafik 34" descr="Solarmodule">
            <a:extLst>
              <a:ext uri="{FF2B5EF4-FFF2-40B4-BE49-F238E27FC236}">
                <a16:creationId xmlns:a16="http://schemas.microsoft.com/office/drawing/2014/main" id="{912E5A59-4C45-4097-B862-43670DADD50B}"/>
              </a:ext>
            </a:extLst>
          </p:cNvPr>
          <p:cNvGrpSpPr/>
          <p:nvPr/>
        </p:nvGrpSpPr>
        <p:grpSpPr>
          <a:xfrm>
            <a:off x="2155548" y="4771311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8326FB13-9962-4DFF-B365-1408502F4783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EC6E9B7C-CE28-47C9-AFA2-83261E36879D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4CB1F17C-E747-4F36-80F5-8CA1FEB60BD5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660A4B94-7AEF-46B0-A993-C1B24CC0C0B1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7B0C58F2-2FD8-4E7C-A1C3-E7DDBBC160B6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C011C14B-3476-4E66-B8E9-8C9E9189ADA0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4CDDC6F-2E1E-4782-8D22-4FB33ED62C21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EB04BC9-DD5C-40B1-B18E-0DA67A82218E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89A01095-3A49-4BCB-868A-8CDE571F98D3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BB11BC01-0629-4851-BE35-B30E3F447A22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7B011D5E-8713-49EC-9B8C-709E7E09BE4F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E54167DD-D8F6-48F7-BF60-CD7CB2CA2803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FFCD7CA4-FD82-40BD-8F8D-117E5CE237EE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3598EB04-2DD0-4B2C-81B8-14811DCD08AF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C7BB7BF-B5B5-46CF-84C6-3DE1A1515DF2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E6559961-126F-400E-851B-EA37D7A28CCC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5929441-958C-49E8-9C9A-D1F1A122594C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E60F2666-ED64-4C44-96F9-629EAD169635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EF42142C-90D1-4718-B795-A2C8591229D9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8" name="Freihandform: Form 97">
            <a:extLst>
              <a:ext uri="{FF2B5EF4-FFF2-40B4-BE49-F238E27FC236}">
                <a16:creationId xmlns:a16="http://schemas.microsoft.com/office/drawing/2014/main" id="{84D3259D-5EB0-47FC-BF69-82DF5460167A}"/>
              </a:ext>
            </a:extLst>
          </p:cNvPr>
          <p:cNvSpPr/>
          <p:nvPr/>
        </p:nvSpPr>
        <p:spPr>
          <a:xfrm>
            <a:off x="1721497" y="2845835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99" name="Grafik 34" descr="Solarmodule">
            <a:extLst>
              <a:ext uri="{FF2B5EF4-FFF2-40B4-BE49-F238E27FC236}">
                <a16:creationId xmlns:a16="http://schemas.microsoft.com/office/drawing/2014/main" id="{64C289D4-6938-46CD-BB57-CBA2A39FA625}"/>
              </a:ext>
            </a:extLst>
          </p:cNvPr>
          <p:cNvGrpSpPr/>
          <p:nvPr/>
        </p:nvGrpSpPr>
        <p:grpSpPr>
          <a:xfrm>
            <a:off x="2130844" y="2783578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13374307-746C-474B-9B18-2FC753ACA60D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31D5180A-29FB-4C13-BD8B-7EAE99FB49A8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EBE8B4B2-5763-43BE-BC07-04443D46B609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FED9C243-4E3A-4E14-8D34-15786A1F9A10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F3A5ADB7-3C50-45CA-A949-F2A55BF7B37F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DF59D468-55C1-4D8B-A2F1-73E240493125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4B875AD4-886B-4B08-904D-D721EF158846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5F7B7C37-1627-40DC-B6AF-A7E4AA256D6F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72A1C3E1-1FB1-4BAF-ADEA-15E6FAC2D88E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823C4884-5013-4B7E-B572-9437ECFD7331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C0F618DC-7701-4A5C-816E-177AC65009E4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25CD7CD9-2045-45F3-ADCF-18BDFA1B8089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51975419-B5E7-4C13-890C-0FD110B6B641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DDB8FC39-AECE-4AE1-8845-B06F90401130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70982BFE-B89C-4836-A139-3CCA58B995C3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F425B63B-2D76-4947-906D-14304B99DDED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1D153F5-C6DE-48CD-A9D0-1F5B6BBBD400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0A6BB9A3-C3C3-4C01-849F-4BD176937CDF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394E0604-FA9C-495C-A677-E35F5CE3A6D6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19" name="Freihandform: Form 118">
            <a:extLst>
              <a:ext uri="{FF2B5EF4-FFF2-40B4-BE49-F238E27FC236}">
                <a16:creationId xmlns:a16="http://schemas.microsoft.com/office/drawing/2014/main" id="{F47013A5-3A51-42AF-9651-327EB80378A5}"/>
              </a:ext>
            </a:extLst>
          </p:cNvPr>
          <p:cNvSpPr/>
          <p:nvPr/>
        </p:nvSpPr>
        <p:spPr>
          <a:xfrm>
            <a:off x="2873295" y="2628354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20" name="Grafik 34" descr="Solarmodule">
            <a:extLst>
              <a:ext uri="{FF2B5EF4-FFF2-40B4-BE49-F238E27FC236}">
                <a16:creationId xmlns:a16="http://schemas.microsoft.com/office/drawing/2014/main" id="{9955A1B5-47A2-4EB4-8BD0-C7E03DE2752E}"/>
              </a:ext>
            </a:extLst>
          </p:cNvPr>
          <p:cNvGrpSpPr/>
          <p:nvPr/>
        </p:nvGrpSpPr>
        <p:grpSpPr>
          <a:xfrm>
            <a:off x="2881121" y="3450317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6FAF22B7-2193-475E-994E-C492936C6582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BB697906-4A47-4A26-9921-F3313FEEBD75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44ECE984-5013-45EF-8AE8-AF348DDBFFAE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92B9036C-39C8-4F76-B486-5024C4ECE20D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BF2BB838-B8BE-4736-AECE-48708B34DDF5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32F136DD-CF6C-4A6C-83C6-CC32CAC244FA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FA2CEC6A-7AE8-4058-BF5B-93F6EA82C324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DDFB201D-8686-4653-BA25-EDCA9581236B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87381DA7-83A8-46F7-A6E0-970B5309B6C2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8FB5E3AB-1731-460E-95A9-64945FD21F2F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64B6D0A3-BBAA-47AF-B14E-A2461E457603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6436198E-98E5-482E-9C11-4406CD24F502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E8492D42-4B57-4C78-86A2-50CA37F3CB35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E730E835-6F37-47E0-95D3-E8B6B1A12971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03E98A9E-09D3-4B98-8C1B-28DFA83DE3B8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31D6BE70-D2CD-407B-95EC-B627CE9FA20A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B526E99D-2796-4D4F-95B4-1D541B7DCA7E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52236FD4-DE95-419E-BB93-E254842404E6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E7946645-2304-4A01-9E60-7DA8F9144100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ECEF038-1FE1-47F9-99BF-A688981E12F6}"/>
              </a:ext>
            </a:extLst>
          </p:cNvPr>
          <p:cNvSpPr/>
          <p:nvPr/>
        </p:nvSpPr>
        <p:spPr>
          <a:xfrm>
            <a:off x="2463009" y="3560534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15" name="Grafik 14" descr="Thermometer">
            <a:extLst>
              <a:ext uri="{FF2B5EF4-FFF2-40B4-BE49-F238E27FC236}">
                <a16:creationId xmlns:a16="http://schemas.microsoft.com/office/drawing/2014/main" id="{1A9AA56C-3D34-4166-8C3C-C5D59A738A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47767" y="4828657"/>
            <a:ext cx="457200" cy="457200"/>
          </a:xfrm>
          <a:prstGeom prst="rect">
            <a:avLst/>
          </a:prstGeom>
        </p:spPr>
      </p:pic>
      <p:pic>
        <p:nvPicPr>
          <p:cNvPr id="17" name="Grafik 16" descr="Produktion">
            <a:extLst>
              <a:ext uri="{FF2B5EF4-FFF2-40B4-BE49-F238E27FC236}">
                <a16:creationId xmlns:a16="http://schemas.microsoft.com/office/drawing/2014/main" id="{928FF8F8-539C-47DC-A633-3C58FA1227F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14766" y="4116387"/>
            <a:ext cx="533097" cy="533097"/>
          </a:xfrm>
          <a:prstGeom prst="rect">
            <a:avLst/>
          </a:prstGeom>
        </p:spPr>
      </p:pic>
      <p:pic>
        <p:nvPicPr>
          <p:cNvPr id="19" name="Grafik 18" descr="Einkaufskorb">
            <a:extLst>
              <a:ext uri="{FF2B5EF4-FFF2-40B4-BE49-F238E27FC236}">
                <a16:creationId xmlns:a16="http://schemas.microsoft.com/office/drawing/2014/main" id="{1694F869-D80C-4C8D-8CA2-1E93B99F754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26566" y="4205527"/>
            <a:ext cx="477658" cy="477658"/>
          </a:xfrm>
          <a:prstGeom prst="rect">
            <a:avLst/>
          </a:prstGeom>
        </p:spPr>
      </p:pic>
      <p:pic>
        <p:nvPicPr>
          <p:cNvPr id="21" name="Grafik 20" descr="Voller Akku">
            <a:extLst>
              <a:ext uri="{FF2B5EF4-FFF2-40B4-BE49-F238E27FC236}">
                <a16:creationId xmlns:a16="http://schemas.microsoft.com/office/drawing/2014/main" id="{2F81FEA5-377B-426B-AFDC-9F483CC680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42564" y="3560869"/>
            <a:ext cx="454133" cy="454133"/>
          </a:xfrm>
          <a:prstGeom prst="rect">
            <a:avLst/>
          </a:prstGeom>
        </p:spPr>
      </p:pic>
      <p:pic>
        <p:nvPicPr>
          <p:cNvPr id="3" name="Grafik 2" descr="Angebot und Nachfrage">
            <a:extLst>
              <a:ext uri="{FF2B5EF4-FFF2-40B4-BE49-F238E27FC236}">
                <a16:creationId xmlns:a16="http://schemas.microsoft.com/office/drawing/2014/main" id="{DF896179-32FA-41FE-B494-C8EDE0702E7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30524" y="3234811"/>
            <a:ext cx="1289743" cy="1289743"/>
          </a:xfrm>
          <a:prstGeom prst="rect">
            <a:avLst/>
          </a:prstGeom>
        </p:spPr>
      </p:pic>
      <p:sp>
        <p:nvSpPr>
          <p:cNvPr id="8" name="Pfeil: 180-Grad 7">
            <a:extLst>
              <a:ext uri="{FF2B5EF4-FFF2-40B4-BE49-F238E27FC236}">
                <a16:creationId xmlns:a16="http://schemas.microsoft.com/office/drawing/2014/main" id="{F8C15502-E4E3-4180-BF85-2E85D4C6C046}"/>
              </a:ext>
            </a:extLst>
          </p:cNvPr>
          <p:cNvSpPr/>
          <p:nvPr/>
        </p:nvSpPr>
        <p:spPr>
          <a:xfrm rot="16200000">
            <a:off x="3899178" y="3438713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9" name="Pfeil: 180-Grad 8">
            <a:extLst>
              <a:ext uri="{FF2B5EF4-FFF2-40B4-BE49-F238E27FC236}">
                <a16:creationId xmlns:a16="http://schemas.microsoft.com/office/drawing/2014/main" id="{1F42A20A-E407-42C2-8FD4-17E73ECC3E24}"/>
              </a:ext>
            </a:extLst>
          </p:cNvPr>
          <p:cNvSpPr/>
          <p:nvPr/>
        </p:nvSpPr>
        <p:spPr>
          <a:xfrm rot="5400000">
            <a:off x="7427570" y="3500156"/>
            <a:ext cx="864096" cy="646915"/>
          </a:xfrm>
          <a:prstGeom prst="utur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7ABDDBC-7AF2-48D9-8DF4-67460023616D}"/>
              </a:ext>
            </a:extLst>
          </p:cNvPr>
          <p:cNvSpPr/>
          <p:nvPr/>
        </p:nvSpPr>
        <p:spPr>
          <a:xfrm>
            <a:off x="1692657" y="4749212"/>
            <a:ext cx="1272738" cy="573150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379546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hteck 105">
            <a:extLst>
              <a:ext uri="{FF2B5EF4-FFF2-40B4-BE49-F238E27FC236}">
                <a16:creationId xmlns:a16="http://schemas.microsoft.com/office/drawing/2014/main" id="{F1731F22-811A-45F0-ACD5-4A47FD1DCAE7}"/>
              </a:ext>
            </a:extLst>
          </p:cNvPr>
          <p:cNvSpPr/>
          <p:nvPr/>
        </p:nvSpPr>
        <p:spPr>
          <a:xfrm>
            <a:off x="528001" y="5330316"/>
            <a:ext cx="3458049" cy="7625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rtlCol="0" anchor="t"/>
          <a:lstStyle/>
          <a:p>
            <a:r>
              <a:rPr lang="de-DE" sz="1200" b="1" dirty="0">
                <a:solidFill>
                  <a:schemeClr val="tx1"/>
                </a:solidFill>
              </a:rPr>
              <a:t>Strombeschaffung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23C9BF1-4DEC-4196-B8C5-2EDEBD23304C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5 – Stromnachfrag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F0BE27-7530-4619-B5E9-5BE45E2382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206ECE42-D481-4F8B-8612-AE6042B89D33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B6DEDB-2B25-4339-8A6B-FFAF93FE60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D3CFB3-70E6-4FD4-AA0F-8769C666FCB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8</a:t>
            </a:fld>
            <a:endParaRPr lang="de-DE" alt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8F54220-DC4B-48C2-A629-36A0F28366C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Vermarktung der Energienachfrage erfolgt preisunelastisch zu einem Preis von 3000 €/MWh</a:t>
            </a: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C1526818-AB38-4BB2-B368-F9CF4E0B82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282537"/>
              </p:ext>
            </p:extLst>
          </p:nvPr>
        </p:nvGraphicFramePr>
        <p:xfrm>
          <a:off x="528000" y="2475363"/>
          <a:ext cx="3458050" cy="2782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44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45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355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47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 rowSpan="4"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latin typeface="+mj-lt"/>
                        </a:rPr>
                        <a:t>Volumina</a:t>
                      </a:r>
                      <a:r>
                        <a:rPr lang="en-US" sz="1000" b="1" dirty="0">
                          <a:latin typeface="+mj-lt"/>
                        </a:rPr>
                        <a:t> MWh</a:t>
                      </a:r>
                    </a:p>
                  </a:txBody>
                  <a:tcPr marL="91452" marR="91452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780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2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4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67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78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+mj-lt"/>
                        </a:rPr>
                        <a:t>…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789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4" name="Rechteck 53">
            <a:extLst>
              <a:ext uri="{FF2B5EF4-FFF2-40B4-BE49-F238E27FC236}">
                <a16:creationId xmlns:a16="http://schemas.microsoft.com/office/drawing/2014/main" id="{05A290DE-4441-4A2A-881F-BEC5E02CA397}"/>
              </a:ext>
            </a:extLst>
          </p:cNvPr>
          <p:cNvSpPr/>
          <p:nvPr/>
        </p:nvSpPr>
        <p:spPr>
          <a:xfrm>
            <a:off x="1372580" y="3305135"/>
            <a:ext cx="720080" cy="4722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6D8EDFC8-F251-421E-9CF9-FDEF62768827}"/>
              </a:ext>
            </a:extLst>
          </p:cNvPr>
          <p:cNvCxnSpPr/>
          <p:nvPr/>
        </p:nvCxnSpPr>
        <p:spPr>
          <a:xfrm>
            <a:off x="5286493" y="1990430"/>
            <a:ext cx="0" cy="3600400"/>
          </a:xfrm>
          <a:prstGeom prst="line">
            <a:avLst/>
          </a:prstGeom>
          <a:ln w="38100"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2D9D366-89DB-4164-A559-550024AF2422}"/>
              </a:ext>
            </a:extLst>
          </p:cNvPr>
          <p:cNvCxnSpPr>
            <a:cxnSpLocks/>
          </p:cNvCxnSpPr>
          <p:nvPr/>
        </p:nvCxnSpPr>
        <p:spPr>
          <a:xfrm rot="16200000">
            <a:off x="6942677" y="3700379"/>
            <a:ext cx="0" cy="360040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244600B2-3CCF-44F1-AA65-4FEA322F06CB}"/>
              </a:ext>
            </a:extLst>
          </p:cNvPr>
          <p:cNvSpPr txBox="1"/>
          <p:nvPr/>
        </p:nvSpPr>
        <p:spPr>
          <a:xfrm>
            <a:off x="7954956" y="5556861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ge [MWh]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F121872-1206-46A9-9C40-817938D7B122}"/>
              </a:ext>
            </a:extLst>
          </p:cNvPr>
          <p:cNvSpPr txBox="1"/>
          <p:nvPr/>
        </p:nvSpPr>
        <p:spPr>
          <a:xfrm rot="16200000">
            <a:off x="4464694" y="2468019"/>
            <a:ext cx="1219967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is [€/MWh]</a:t>
            </a: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D33659D8-0242-48BE-9731-3AF5606C873E}"/>
              </a:ext>
            </a:extLst>
          </p:cNvPr>
          <p:cNvSpPr/>
          <p:nvPr/>
        </p:nvSpPr>
        <p:spPr>
          <a:xfrm>
            <a:off x="6513163" y="2320931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3" name="Tabelle 102">
            <a:extLst>
              <a:ext uri="{FF2B5EF4-FFF2-40B4-BE49-F238E27FC236}">
                <a16:creationId xmlns:a16="http://schemas.microsoft.com/office/drawing/2014/main" id="{F0AF9D87-E60E-4D3C-BC99-F6DC2EEFDD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377296"/>
              </p:ext>
            </p:extLst>
          </p:nvPr>
        </p:nvGraphicFramePr>
        <p:xfrm>
          <a:off x="7956350" y="3305136"/>
          <a:ext cx="2173572" cy="13007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5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22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320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Preis</a:t>
                      </a:r>
                      <a:r>
                        <a:rPr lang="en-US" sz="1100" baseline="0" dirty="0"/>
                        <a:t> €/MWh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789">
                <a:tc gridSpan="2">
                  <a:txBody>
                    <a:bodyPr/>
                    <a:lstStyle/>
                    <a:p>
                      <a:pPr algn="ctr"/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91452" marR="914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-500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3000</a:t>
                      </a: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78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MWh</a:t>
                      </a: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0.1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99.9% </a:t>
                      </a:r>
                      <a:r>
                        <a:rPr lang="en-US" sz="1000" dirty="0" err="1">
                          <a:latin typeface="+mj-lt"/>
                        </a:rPr>
                        <a:t>Eop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marL="91452" marR="914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5E50F309-751C-4328-ACA6-D5BF2E6817E8}"/>
              </a:ext>
            </a:extLst>
          </p:cNvPr>
          <p:cNvCxnSpPr/>
          <p:nvPr/>
        </p:nvCxnSpPr>
        <p:spPr>
          <a:xfrm>
            <a:off x="2419384" y="3518518"/>
            <a:ext cx="2723093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63ED23C8-25D7-44EF-BA92-A1FCBA76042A}"/>
              </a:ext>
            </a:extLst>
          </p:cNvPr>
          <p:cNvCxnSpPr>
            <a:cxnSpLocks/>
            <a:endCxn id="103" idx="1"/>
          </p:cNvCxnSpPr>
          <p:nvPr/>
        </p:nvCxnSpPr>
        <p:spPr>
          <a:xfrm>
            <a:off x="6605490" y="3429000"/>
            <a:ext cx="1350860" cy="52652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Textfeld 110">
            <a:extLst>
              <a:ext uri="{FF2B5EF4-FFF2-40B4-BE49-F238E27FC236}">
                <a16:creationId xmlns:a16="http://schemas.microsoft.com/office/drawing/2014/main" id="{7F377EF2-DD47-408D-B780-B16F8CB3107D}"/>
              </a:ext>
            </a:extLst>
          </p:cNvPr>
          <p:cNvSpPr txBox="1"/>
          <p:nvPr/>
        </p:nvSpPr>
        <p:spPr>
          <a:xfrm>
            <a:off x="6057503" y="4574191"/>
            <a:ext cx="1083803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0.1; -500)</a:t>
            </a:r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3C3B0088-0192-49E6-9C86-DF79BABB52E2}"/>
              </a:ext>
            </a:extLst>
          </p:cNvPr>
          <p:cNvCxnSpPr>
            <a:cxnSpLocks/>
          </p:cNvCxnSpPr>
          <p:nvPr/>
        </p:nvCxnSpPr>
        <p:spPr>
          <a:xfrm flipH="1" flipV="1">
            <a:off x="6549161" y="2392931"/>
            <a:ext cx="0" cy="2048547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2" name="Ellipse 121">
            <a:extLst>
              <a:ext uri="{FF2B5EF4-FFF2-40B4-BE49-F238E27FC236}">
                <a16:creationId xmlns:a16="http://schemas.microsoft.com/office/drawing/2014/main" id="{A7F5682C-98C9-423B-98B4-E658E043C74C}"/>
              </a:ext>
            </a:extLst>
          </p:cNvPr>
          <p:cNvSpPr/>
          <p:nvPr/>
        </p:nvSpPr>
        <p:spPr>
          <a:xfrm>
            <a:off x="6515819" y="4433619"/>
            <a:ext cx="72000" cy="7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5EFB571E-6FBE-47E2-9307-58B8C0FAD6D5}"/>
              </a:ext>
            </a:extLst>
          </p:cNvPr>
          <p:cNvSpPr/>
          <p:nvPr/>
        </p:nvSpPr>
        <p:spPr>
          <a:xfrm>
            <a:off x="2855640" y="5633280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47" name="Grafik 34" descr="Solarmodule">
            <a:extLst>
              <a:ext uri="{FF2B5EF4-FFF2-40B4-BE49-F238E27FC236}">
                <a16:creationId xmlns:a16="http://schemas.microsoft.com/office/drawing/2014/main" id="{B1C455EB-439C-4DFD-A278-8A8ED0F69EF7}"/>
              </a:ext>
            </a:extLst>
          </p:cNvPr>
          <p:cNvGrpSpPr/>
          <p:nvPr/>
        </p:nvGrpSpPr>
        <p:grpSpPr>
          <a:xfrm>
            <a:off x="2329209" y="5569914"/>
            <a:ext cx="505644" cy="505644"/>
            <a:chOff x="6247042" y="3130666"/>
            <a:chExt cx="914400" cy="914400"/>
          </a:xfrm>
          <a:solidFill>
            <a:schemeClr val="accent3"/>
          </a:solidFill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582601DC-D72F-4F6D-B3D5-5B129D4EC4BF}"/>
                </a:ext>
              </a:extLst>
            </p:cNvPr>
            <p:cNvSpPr/>
            <p:nvPr/>
          </p:nvSpPr>
          <p:spPr>
            <a:xfrm>
              <a:off x="6285142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17BD44C3-D1A1-4174-9A62-AAB933AD3C49}"/>
                </a:ext>
              </a:extLst>
            </p:cNvPr>
            <p:cNvSpPr/>
            <p:nvPr/>
          </p:nvSpPr>
          <p:spPr>
            <a:xfrm>
              <a:off x="6317184" y="3218553"/>
              <a:ext cx="46529" cy="47625"/>
            </a:xfrm>
            <a:custGeom>
              <a:avLst/>
              <a:gdLst>
                <a:gd name="connsiteX0" fmla="*/ 33061 w 46529"/>
                <a:gd name="connsiteY0" fmla="*/ 47625 h 47625"/>
                <a:gd name="connsiteX1" fmla="*/ 0 w 46529"/>
                <a:gd name="connsiteY1" fmla="*/ 13783 h 47625"/>
                <a:gd name="connsiteX2" fmla="*/ 13468 w 46529"/>
                <a:gd name="connsiteY2" fmla="*/ 0 h 47625"/>
                <a:gd name="connsiteX3" fmla="*/ 46530 w 46529"/>
                <a:gd name="connsiteY3" fmla="*/ 33833 h 47625"/>
                <a:gd name="connsiteX4" fmla="*/ 33061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47625"/>
                  </a:moveTo>
                  <a:lnTo>
                    <a:pt x="0" y="13783"/>
                  </a:lnTo>
                  <a:lnTo>
                    <a:pt x="13468" y="0"/>
                  </a:lnTo>
                  <a:lnTo>
                    <a:pt x="46530" y="33833"/>
                  </a:lnTo>
                  <a:lnTo>
                    <a:pt x="33061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33B1AA9-A5E7-4368-BB54-D416F45548CB}"/>
                </a:ext>
              </a:extLst>
            </p:cNvPr>
            <p:cNvSpPr/>
            <p:nvPr/>
          </p:nvSpPr>
          <p:spPr>
            <a:xfrm>
              <a:off x="6351817" y="325449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59163DD1-3D05-417D-B6D5-5DECDF9C25EA}"/>
                </a:ext>
              </a:extLst>
            </p:cNvPr>
            <p:cNvSpPr/>
            <p:nvPr/>
          </p:nvSpPr>
          <p:spPr>
            <a:xfrm>
              <a:off x="6399442" y="3186720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308B793B-F327-4AB6-9213-E39A9BFA401A}"/>
                </a:ext>
              </a:extLst>
            </p:cNvPr>
            <p:cNvSpPr/>
            <p:nvPr/>
          </p:nvSpPr>
          <p:spPr>
            <a:xfrm>
              <a:off x="6485167" y="3301020"/>
              <a:ext cx="47625" cy="19050"/>
            </a:xfrm>
            <a:custGeom>
              <a:avLst/>
              <a:gdLst>
                <a:gd name="connsiteX0" fmla="*/ 0 w 47625"/>
                <a:gd name="connsiteY0" fmla="*/ 0 h 19050"/>
                <a:gd name="connsiteX1" fmla="*/ 47625 w 47625"/>
                <a:gd name="connsiteY1" fmla="*/ 0 h 19050"/>
                <a:gd name="connsiteX2" fmla="*/ 47625 w 47625"/>
                <a:gd name="connsiteY2" fmla="*/ 19050 h 19050"/>
                <a:gd name="connsiteX3" fmla="*/ 0 w 4762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9050">
                  <a:moveTo>
                    <a:pt x="0" y="0"/>
                  </a:moveTo>
                  <a:lnTo>
                    <a:pt x="47625" y="0"/>
                  </a:lnTo>
                  <a:lnTo>
                    <a:pt x="47625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524FC600-630F-47B5-875D-EF1F01CB6391}"/>
                </a:ext>
              </a:extLst>
            </p:cNvPr>
            <p:cNvSpPr/>
            <p:nvPr/>
          </p:nvSpPr>
          <p:spPr>
            <a:xfrm>
              <a:off x="6454220" y="3218553"/>
              <a:ext cx="46529" cy="47625"/>
            </a:xfrm>
            <a:custGeom>
              <a:avLst/>
              <a:gdLst>
                <a:gd name="connsiteX0" fmla="*/ 13468 w 46529"/>
                <a:gd name="connsiteY0" fmla="*/ 47625 h 47625"/>
                <a:gd name="connsiteX1" fmla="*/ 46530 w 46529"/>
                <a:gd name="connsiteY1" fmla="*/ 13783 h 47625"/>
                <a:gd name="connsiteX2" fmla="*/ 33061 w 46529"/>
                <a:gd name="connsiteY2" fmla="*/ 0 h 47625"/>
                <a:gd name="connsiteX3" fmla="*/ 0 w 46529"/>
                <a:gd name="connsiteY3" fmla="*/ 33833 h 47625"/>
                <a:gd name="connsiteX4" fmla="*/ 13468 w 46529"/>
                <a:gd name="connsiteY4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47625"/>
                  </a:moveTo>
                  <a:lnTo>
                    <a:pt x="46530" y="13783"/>
                  </a:lnTo>
                  <a:lnTo>
                    <a:pt x="33061" y="0"/>
                  </a:lnTo>
                  <a:lnTo>
                    <a:pt x="0" y="33833"/>
                  </a:lnTo>
                  <a:lnTo>
                    <a:pt x="13468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01CEE460-AB53-48FE-8613-4868CEF3CC2C}"/>
                </a:ext>
              </a:extLst>
            </p:cNvPr>
            <p:cNvSpPr/>
            <p:nvPr/>
          </p:nvSpPr>
          <p:spPr>
            <a:xfrm>
              <a:off x="6317184" y="3356008"/>
              <a:ext cx="46529" cy="47625"/>
            </a:xfrm>
            <a:custGeom>
              <a:avLst/>
              <a:gdLst>
                <a:gd name="connsiteX0" fmla="*/ 33061 w 46529"/>
                <a:gd name="connsiteY0" fmla="*/ 0 h 47625"/>
                <a:gd name="connsiteX1" fmla="*/ 0 w 46529"/>
                <a:gd name="connsiteY1" fmla="*/ 33842 h 47625"/>
                <a:gd name="connsiteX2" fmla="*/ 13468 w 46529"/>
                <a:gd name="connsiteY2" fmla="*/ 47625 h 47625"/>
                <a:gd name="connsiteX3" fmla="*/ 46530 w 46529"/>
                <a:gd name="connsiteY3" fmla="*/ 13792 h 47625"/>
                <a:gd name="connsiteX4" fmla="*/ 33061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33061" y="0"/>
                  </a:moveTo>
                  <a:lnTo>
                    <a:pt x="0" y="33842"/>
                  </a:lnTo>
                  <a:lnTo>
                    <a:pt x="13468" y="47625"/>
                  </a:lnTo>
                  <a:lnTo>
                    <a:pt x="46530" y="13792"/>
                  </a:lnTo>
                  <a:lnTo>
                    <a:pt x="3306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F18A5E8-BAEF-4F22-8C94-28B8FCB8B282}"/>
                </a:ext>
              </a:extLst>
            </p:cNvPr>
            <p:cNvSpPr/>
            <p:nvPr/>
          </p:nvSpPr>
          <p:spPr>
            <a:xfrm>
              <a:off x="6399442" y="3387841"/>
              <a:ext cx="19050" cy="47625"/>
            </a:xfrm>
            <a:custGeom>
              <a:avLst/>
              <a:gdLst>
                <a:gd name="connsiteX0" fmla="*/ 0 w 19050"/>
                <a:gd name="connsiteY0" fmla="*/ 0 h 47625"/>
                <a:gd name="connsiteX1" fmla="*/ 19050 w 19050"/>
                <a:gd name="connsiteY1" fmla="*/ 0 h 47625"/>
                <a:gd name="connsiteX2" fmla="*/ 19050 w 19050"/>
                <a:gd name="connsiteY2" fmla="*/ 47625 h 47625"/>
                <a:gd name="connsiteX3" fmla="*/ 0 w 19050"/>
                <a:gd name="connsiteY3" fmla="*/ 4762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0" y="0"/>
                  </a:moveTo>
                  <a:lnTo>
                    <a:pt x="19050" y="0"/>
                  </a:lnTo>
                  <a:lnTo>
                    <a:pt x="19050" y="47625"/>
                  </a:lnTo>
                  <a:lnTo>
                    <a:pt x="0" y="476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D45B7B74-50B0-4345-90C4-B8342BB6D5E2}"/>
                </a:ext>
              </a:extLst>
            </p:cNvPr>
            <p:cNvSpPr/>
            <p:nvPr/>
          </p:nvSpPr>
          <p:spPr>
            <a:xfrm>
              <a:off x="6454220" y="3356008"/>
              <a:ext cx="46529" cy="47625"/>
            </a:xfrm>
            <a:custGeom>
              <a:avLst/>
              <a:gdLst>
                <a:gd name="connsiteX0" fmla="*/ 13468 w 46529"/>
                <a:gd name="connsiteY0" fmla="*/ 0 h 47625"/>
                <a:gd name="connsiteX1" fmla="*/ 46530 w 46529"/>
                <a:gd name="connsiteY1" fmla="*/ 33842 h 47625"/>
                <a:gd name="connsiteX2" fmla="*/ 33061 w 46529"/>
                <a:gd name="connsiteY2" fmla="*/ 47625 h 47625"/>
                <a:gd name="connsiteX3" fmla="*/ 0 w 46529"/>
                <a:gd name="connsiteY3" fmla="*/ 13792 h 47625"/>
                <a:gd name="connsiteX4" fmla="*/ 13468 w 46529"/>
                <a:gd name="connsiteY4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529" h="47625">
                  <a:moveTo>
                    <a:pt x="13468" y="0"/>
                  </a:moveTo>
                  <a:lnTo>
                    <a:pt x="46530" y="33842"/>
                  </a:lnTo>
                  <a:lnTo>
                    <a:pt x="33061" y="47625"/>
                  </a:lnTo>
                  <a:lnTo>
                    <a:pt x="0" y="13792"/>
                  </a:lnTo>
                  <a:lnTo>
                    <a:pt x="1346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E767E006-C891-4655-9C5F-D5CAFFC26926}"/>
                </a:ext>
              </a:extLst>
            </p:cNvPr>
            <p:cNvSpPr/>
            <p:nvPr/>
          </p:nvSpPr>
          <p:spPr>
            <a:xfrm>
              <a:off x="6682820" y="3509580"/>
              <a:ext cx="162858" cy="91573"/>
            </a:xfrm>
            <a:custGeom>
              <a:avLst/>
              <a:gdLst>
                <a:gd name="connsiteX0" fmla="*/ 0 w 162858"/>
                <a:gd name="connsiteY0" fmla="*/ 91573 h 91573"/>
                <a:gd name="connsiteX1" fmla="*/ 162858 w 162858"/>
                <a:gd name="connsiteY1" fmla="*/ 91573 h 91573"/>
                <a:gd name="connsiteX2" fmla="*/ 151114 w 162858"/>
                <a:gd name="connsiteY2" fmla="*/ 0 h 91573"/>
                <a:gd name="connsiteX3" fmla="*/ 11744 w 162858"/>
                <a:gd name="connsiteY3" fmla="*/ 0 h 91573"/>
                <a:gd name="connsiteX4" fmla="*/ 0 w 162858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58" h="91573">
                  <a:moveTo>
                    <a:pt x="0" y="91573"/>
                  </a:moveTo>
                  <a:lnTo>
                    <a:pt x="162858" y="91573"/>
                  </a:lnTo>
                  <a:lnTo>
                    <a:pt x="151114" y="0"/>
                  </a:lnTo>
                  <a:lnTo>
                    <a:pt x="11744" y="0"/>
                  </a:lnTo>
                  <a:lnTo>
                    <a:pt x="0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C64F714D-27A3-459F-BB8C-37ED9F23ACA0}"/>
                </a:ext>
              </a:extLst>
            </p:cNvPr>
            <p:cNvSpPr/>
            <p:nvPr/>
          </p:nvSpPr>
          <p:spPr>
            <a:xfrm>
              <a:off x="6857108" y="3390784"/>
              <a:ext cx="145437" cy="80695"/>
            </a:xfrm>
            <a:custGeom>
              <a:avLst/>
              <a:gdLst>
                <a:gd name="connsiteX0" fmla="*/ 10344 w 145437"/>
                <a:gd name="connsiteY0" fmla="*/ 80696 h 80695"/>
                <a:gd name="connsiteX1" fmla="*/ 145437 w 145437"/>
                <a:gd name="connsiteY1" fmla="*/ 80696 h 80695"/>
                <a:gd name="connsiteX2" fmla="*/ 109128 w 145437"/>
                <a:gd name="connsiteY2" fmla="*/ 0 h 80695"/>
                <a:gd name="connsiteX3" fmla="*/ 0 w 145437"/>
                <a:gd name="connsiteY3" fmla="*/ 0 h 80695"/>
                <a:gd name="connsiteX4" fmla="*/ 10344 w 14543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37" h="80695">
                  <a:moveTo>
                    <a:pt x="10344" y="80696"/>
                  </a:moveTo>
                  <a:lnTo>
                    <a:pt x="145437" y="80696"/>
                  </a:lnTo>
                  <a:lnTo>
                    <a:pt x="109128" y="0"/>
                  </a:lnTo>
                  <a:lnTo>
                    <a:pt x="0" y="0"/>
                  </a:lnTo>
                  <a:lnTo>
                    <a:pt x="1034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02FCD893-3714-406D-AEE9-C4C5EC73E86E}"/>
                </a:ext>
              </a:extLst>
            </p:cNvPr>
            <p:cNvSpPr/>
            <p:nvPr/>
          </p:nvSpPr>
          <p:spPr>
            <a:xfrm>
              <a:off x="6872339" y="3509580"/>
              <a:ext cx="188566" cy="91573"/>
            </a:xfrm>
            <a:custGeom>
              <a:avLst/>
              <a:gdLst>
                <a:gd name="connsiteX0" fmla="*/ 11744 w 188566"/>
                <a:gd name="connsiteY0" fmla="*/ 91573 h 91573"/>
                <a:gd name="connsiteX1" fmla="*/ 188566 w 188566"/>
                <a:gd name="connsiteY1" fmla="*/ 91573 h 91573"/>
                <a:gd name="connsiteX2" fmla="*/ 147361 w 188566"/>
                <a:gd name="connsiteY2" fmla="*/ 0 h 91573"/>
                <a:gd name="connsiteX3" fmla="*/ 0 w 188566"/>
                <a:gd name="connsiteY3" fmla="*/ 0 h 91573"/>
                <a:gd name="connsiteX4" fmla="*/ 11744 w 18856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66" h="91573">
                  <a:moveTo>
                    <a:pt x="11744" y="91573"/>
                  </a:moveTo>
                  <a:lnTo>
                    <a:pt x="188566" y="91573"/>
                  </a:lnTo>
                  <a:lnTo>
                    <a:pt x="147361" y="0"/>
                  </a:lnTo>
                  <a:lnTo>
                    <a:pt x="0" y="0"/>
                  </a:lnTo>
                  <a:lnTo>
                    <a:pt x="11744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543194DD-63B5-45D5-A8D5-D74339166167}"/>
                </a:ext>
              </a:extLst>
            </p:cNvPr>
            <p:cNvSpPr/>
            <p:nvPr/>
          </p:nvSpPr>
          <p:spPr>
            <a:xfrm>
              <a:off x="6888969" y="3639253"/>
              <a:ext cx="234372" cy="101546"/>
            </a:xfrm>
            <a:custGeom>
              <a:avLst/>
              <a:gdLst>
                <a:gd name="connsiteX0" fmla="*/ 0 w 234372"/>
                <a:gd name="connsiteY0" fmla="*/ 0 h 101546"/>
                <a:gd name="connsiteX1" fmla="*/ 13011 w 234372"/>
                <a:gd name="connsiteY1" fmla="*/ 101546 h 101546"/>
                <a:gd name="connsiteX2" fmla="*/ 234363 w 234372"/>
                <a:gd name="connsiteY2" fmla="*/ 101546 h 101546"/>
                <a:gd name="connsiteX3" fmla="*/ 234363 w 234372"/>
                <a:gd name="connsiteY3" fmla="*/ 100641 h 101546"/>
                <a:gd name="connsiteX4" fmla="*/ 234372 w 234372"/>
                <a:gd name="connsiteY4" fmla="*/ 100641 h 101546"/>
                <a:gd name="connsiteX5" fmla="*/ 189081 w 234372"/>
                <a:gd name="connsiteY5" fmla="*/ 0 h 101546"/>
                <a:gd name="connsiteX6" fmla="*/ 0 w 234372"/>
                <a:gd name="connsiteY6" fmla="*/ 0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4372" h="101546">
                  <a:moveTo>
                    <a:pt x="0" y="0"/>
                  </a:moveTo>
                  <a:lnTo>
                    <a:pt x="13011" y="101546"/>
                  </a:lnTo>
                  <a:lnTo>
                    <a:pt x="234363" y="101546"/>
                  </a:lnTo>
                  <a:lnTo>
                    <a:pt x="234363" y="100641"/>
                  </a:lnTo>
                  <a:lnTo>
                    <a:pt x="234372" y="100641"/>
                  </a:lnTo>
                  <a:lnTo>
                    <a:pt x="18908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13DB40D4-1684-493C-AA99-E229EA03D709}"/>
                </a:ext>
              </a:extLst>
            </p:cNvPr>
            <p:cNvSpPr/>
            <p:nvPr/>
          </p:nvSpPr>
          <p:spPr>
            <a:xfrm>
              <a:off x="6699441" y="3390784"/>
              <a:ext cx="129606" cy="80695"/>
            </a:xfrm>
            <a:custGeom>
              <a:avLst/>
              <a:gdLst>
                <a:gd name="connsiteX0" fmla="*/ 0 w 129606"/>
                <a:gd name="connsiteY0" fmla="*/ 80696 h 80695"/>
                <a:gd name="connsiteX1" fmla="*/ 129607 w 129606"/>
                <a:gd name="connsiteY1" fmla="*/ 80696 h 80695"/>
                <a:gd name="connsiteX2" fmla="*/ 119263 w 129606"/>
                <a:gd name="connsiteY2" fmla="*/ 0 h 80695"/>
                <a:gd name="connsiteX3" fmla="*/ 10344 w 129606"/>
                <a:gd name="connsiteY3" fmla="*/ 0 h 80695"/>
                <a:gd name="connsiteX4" fmla="*/ 0 w 129606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606" h="80695">
                  <a:moveTo>
                    <a:pt x="0" y="80696"/>
                  </a:moveTo>
                  <a:lnTo>
                    <a:pt x="129607" y="80696"/>
                  </a:lnTo>
                  <a:lnTo>
                    <a:pt x="119263" y="0"/>
                  </a:lnTo>
                  <a:lnTo>
                    <a:pt x="10344" y="0"/>
                  </a:lnTo>
                  <a:lnTo>
                    <a:pt x="0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AC02D70E-8E72-4EBE-97A3-F57ADECC18E0}"/>
                </a:ext>
              </a:extLst>
            </p:cNvPr>
            <p:cNvSpPr/>
            <p:nvPr/>
          </p:nvSpPr>
          <p:spPr>
            <a:xfrm>
              <a:off x="6405157" y="3778899"/>
              <a:ext cx="718175" cy="209016"/>
            </a:xfrm>
            <a:custGeom>
              <a:avLst/>
              <a:gdLst>
                <a:gd name="connsiteX0" fmla="*/ 718176 w 718175"/>
                <a:gd name="connsiteY0" fmla="*/ 60750 h 209016"/>
                <a:gd name="connsiteX1" fmla="*/ 718176 w 718175"/>
                <a:gd name="connsiteY1" fmla="*/ 0 h 209016"/>
                <a:gd name="connsiteX2" fmla="*/ 0 w 718175"/>
                <a:gd name="connsiteY2" fmla="*/ 0 h 209016"/>
                <a:gd name="connsiteX3" fmla="*/ 0 w 718175"/>
                <a:gd name="connsiteY3" fmla="*/ 60750 h 209016"/>
                <a:gd name="connsiteX4" fmla="*/ 330518 w 718175"/>
                <a:gd name="connsiteY4" fmla="*/ 60750 h 209016"/>
                <a:gd name="connsiteX5" fmla="*/ 330518 w 718175"/>
                <a:gd name="connsiteY5" fmla="*/ 151867 h 209016"/>
                <a:gd name="connsiteX6" fmla="*/ 229419 w 718175"/>
                <a:gd name="connsiteY6" fmla="*/ 151867 h 209016"/>
                <a:gd name="connsiteX7" fmla="*/ 229419 w 718175"/>
                <a:gd name="connsiteY7" fmla="*/ 209017 h 209016"/>
                <a:gd name="connsiteX8" fmla="*/ 488756 w 718175"/>
                <a:gd name="connsiteY8" fmla="*/ 209017 h 209016"/>
                <a:gd name="connsiteX9" fmla="*/ 488756 w 718175"/>
                <a:gd name="connsiteY9" fmla="*/ 151867 h 209016"/>
                <a:gd name="connsiteX10" fmla="*/ 387668 w 718175"/>
                <a:gd name="connsiteY10" fmla="*/ 151867 h 209016"/>
                <a:gd name="connsiteX11" fmla="*/ 387668 w 718175"/>
                <a:gd name="connsiteY11" fmla="*/ 60750 h 209016"/>
                <a:gd name="connsiteX12" fmla="*/ 718176 w 718175"/>
                <a:gd name="connsiteY12" fmla="*/ 60750 h 20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8175" h="209016">
                  <a:moveTo>
                    <a:pt x="718176" y="60750"/>
                  </a:moveTo>
                  <a:lnTo>
                    <a:pt x="718176" y="0"/>
                  </a:lnTo>
                  <a:lnTo>
                    <a:pt x="0" y="0"/>
                  </a:lnTo>
                  <a:lnTo>
                    <a:pt x="0" y="60750"/>
                  </a:lnTo>
                  <a:lnTo>
                    <a:pt x="330518" y="60750"/>
                  </a:lnTo>
                  <a:lnTo>
                    <a:pt x="330518" y="151867"/>
                  </a:lnTo>
                  <a:lnTo>
                    <a:pt x="229419" y="151867"/>
                  </a:lnTo>
                  <a:lnTo>
                    <a:pt x="229419" y="209017"/>
                  </a:lnTo>
                  <a:lnTo>
                    <a:pt x="488756" y="209017"/>
                  </a:lnTo>
                  <a:lnTo>
                    <a:pt x="488756" y="151867"/>
                  </a:lnTo>
                  <a:lnTo>
                    <a:pt x="387668" y="151867"/>
                  </a:lnTo>
                  <a:lnTo>
                    <a:pt x="387668" y="60750"/>
                  </a:lnTo>
                  <a:lnTo>
                    <a:pt x="718176" y="60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9D4DB5AF-9874-4433-8459-0794A9FDEE40}"/>
                </a:ext>
              </a:extLst>
            </p:cNvPr>
            <p:cNvSpPr/>
            <p:nvPr/>
          </p:nvSpPr>
          <p:spPr>
            <a:xfrm>
              <a:off x="6467602" y="3509580"/>
              <a:ext cx="188556" cy="91573"/>
            </a:xfrm>
            <a:custGeom>
              <a:avLst/>
              <a:gdLst>
                <a:gd name="connsiteX0" fmla="*/ 176813 w 188556"/>
                <a:gd name="connsiteY0" fmla="*/ 91573 h 91573"/>
                <a:gd name="connsiteX1" fmla="*/ 188557 w 188556"/>
                <a:gd name="connsiteY1" fmla="*/ 0 h 91573"/>
                <a:gd name="connsiteX2" fmla="*/ 41205 w 188556"/>
                <a:gd name="connsiteY2" fmla="*/ 0 h 91573"/>
                <a:gd name="connsiteX3" fmla="*/ 0 w 188556"/>
                <a:gd name="connsiteY3" fmla="*/ 91573 h 91573"/>
                <a:gd name="connsiteX4" fmla="*/ 176813 w 188556"/>
                <a:gd name="connsiteY4" fmla="*/ 91573 h 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56" h="91573">
                  <a:moveTo>
                    <a:pt x="176813" y="91573"/>
                  </a:moveTo>
                  <a:lnTo>
                    <a:pt x="188557" y="0"/>
                  </a:lnTo>
                  <a:lnTo>
                    <a:pt x="41205" y="0"/>
                  </a:lnTo>
                  <a:lnTo>
                    <a:pt x="0" y="91573"/>
                  </a:lnTo>
                  <a:lnTo>
                    <a:pt x="176813" y="915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8F36D62-E785-4998-99E3-E8020FAD35D9}"/>
                </a:ext>
              </a:extLst>
            </p:cNvPr>
            <p:cNvSpPr/>
            <p:nvPr/>
          </p:nvSpPr>
          <p:spPr>
            <a:xfrm>
              <a:off x="6664922" y="3639253"/>
              <a:ext cx="198653" cy="101546"/>
            </a:xfrm>
            <a:custGeom>
              <a:avLst/>
              <a:gdLst>
                <a:gd name="connsiteX0" fmla="*/ 198653 w 198653"/>
                <a:gd name="connsiteY0" fmla="*/ 101546 h 101546"/>
                <a:gd name="connsiteX1" fmla="*/ 185642 w 198653"/>
                <a:gd name="connsiteY1" fmla="*/ 0 h 101546"/>
                <a:gd name="connsiteX2" fmla="*/ 13021 w 198653"/>
                <a:gd name="connsiteY2" fmla="*/ 0 h 101546"/>
                <a:gd name="connsiteX3" fmla="*/ 0 w 198653"/>
                <a:gd name="connsiteY3" fmla="*/ 101546 h 101546"/>
                <a:gd name="connsiteX4" fmla="*/ 198653 w 198653"/>
                <a:gd name="connsiteY4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653" h="101546">
                  <a:moveTo>
                    <a:pt x="198653" y="101546"/>
                  </a:moveTo>
                  <a:lnTo>
                    <a:pt x="185642" y="0"/>
                  </a:lnTo>
                  <a:lnTo>
                    <a:pt x="13021" y="0"/>
                  </a:lnTo>
                  <a:lnTo>
                    <a:pt x="0" y="101546"/>
                  </a:lnTo>
                  <a:lnTo>
                    <a:pt x="198653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C6574BC6-1A36-4161-8EC1-07AC23A524FE}"/>
                </a:ext>
              </a:extLst>
            </p:cNvPr>
            <p:cNvSpPr/>
            <p:nvPr/>
          </p:nvSpPr>
          <p:spPr>
            <a:xfrm>
              <a:off x="6405157" y="3639253"/>
              <a:ext cx="234372" cy="101546"/>
            </a:xfrm>
            <a:custGeom>
              <a:avLst/>
              <a:gdLst>
                <a:gd name="connsiteX0" fmla="*/ 221361 w 234372"/>
                <a:gd name="connsiteY0" fmla="*/ 101546 h 101546"/>
                <a:gd name="connsiteX1" fmla="*/ 234372 w 234372"/>
                <a:gd name="connsiteY1" fmla="*/ 0 h 101546"/>
                <a:gd name="connsiteX2" fmla="*/ 45301 w 234372"/>
                <a:gd name="connsiteY2" fmla="*/ 0 h 101546"/>
                <a:gd name="connsiteX3" fmla="*/ 0 w 234372"/>
                <a:gd name="connsiteY3" fmla="*/ 100641 h 101546"/>
                <a:gd name="connsiteX4" fmla="*/ 0 w 234372"/>
                <a:gd name="connsiteY4" fmla="*/ 101546 h 101546"/>
                <a:gd name="connsiteX5" fmla="*/ 221361 w 234372"/>
                <a:gd name="connsiteY5" fmla="*/ 101546 h 10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372" h="101546">
                  <a:moveTo>
                    <a:pt x="221361" y="101546"/>
                  </a:moveTo>
                  <a:lnTo>
                    <a:pt x="234372" y="0"/>
                  </a:lnTo>
                  <a:lnTo>
                    <a:pt x="45301" y="0"/>
                  </a:lnTo>
                  <a:lnTo>
                    <a:pt x="0" y="100641"/>
                  </a:lnTo>
                  <a:lnTo>
                    <a:pt x="0" y="101546"/>
                  </a:lnTo>
                  <a:lnTo>
                    <a:pt x="221361" y="1015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9367F97-0A71-4D8D-83D3-CD51D4052EBF}"/>
                </a:ext>
              </a:extLst>
            </p:cNvPr>
            <p:cNvSpPr/>
            <p:nvPr/>
          </p:nvSpPr>
          <p:spPr>
            <a:xfrm>
              <a:off x="6525953" y="3390784"/>
              <a:ext cx="145427" cy="80695"/>
            </a:xfrm>
            <a:custGeom>
              <a:avLst/>
              <a:gdLst>
                <a:gd name="connsiteX0" fmla="*/ 135084 w 145427"/>
                <a:gd name="connsiteY0" fmla="*/ 80696 h 80695"/>
                <a:gd name="connsiteX1" fmla="*/ 145428 w 145427"/>
                <a:gd name="connsiteY1" fmla="*/ 0 h 80695"/>
                <a:gd name="connsiteX2" fmla="*/ 36319 w 145427"/>
                <a:gd name="connsiteY2" fmla="*/ 0 h 80695"/>
                <a:gd name="connsiteX3" fmla="*/ 0 w 145427"/>
                <a:gd name="connsiteY3" fmla="*/ 80696 h 80695"/>
                <a:gd name="connsiteX4" fmla="*/ 135084 w 145427"/>
                <a:gd name="connsiteY4" fmla="*/ 80696 h 8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5427" h="80695">
                  <a:moveTo>
                    <a:pt x="135084" y="80696"/>
                  </a:moveTo>
                  <a:lnTo>
                    <a:pt x="145428" y="0"/>
                  </a:lnTo>
                  <a:lnTo>
                    <a:pt x="36319" y="0"/>
                  </a:lnTo>
                  <a:lnTo>
                    <a:pt x="0" y="80696"/>
                  </a:lnTo>
                  <a:lnTo>
                    <a:pt x="135084" y="806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4" name="Freihandform: Form 73">
            <a:extLst>
              <a:ext uri="{FF2B5EF4-FFF2-40B4-BE49-F238E27FC236}">
                <a16:creationId xmlns:a16="http://schemas.microsoft.com/office/drawing/2014/main" id="{9F214E62-8157-4C17-93AC-245ED8E66A6F}"/>
              </a:ext>
            </a:extLst>
          </p:cNvPr>
          <p:cNvSpPr/>
          <p:nvPr/>
        </p:nvSpPr>
        <p:spPr>
          <a:xfrm>
            <a:off x="1252519" y="5635306"/>
            <a:ext cx="432048" cy="382694"/>
          </a:xfrm>
          <a:custGeom>
            <a:avLst/>
            <a:gdLst>
              <a:gd name="connsiteX0" fmla="*/ 632774 w 789298"/>
              <a:gd name="connsiteY0" fmla="*/ 51225 h 699134"/>
              <a:gd name="connsiteX1" fmla="*/ 537524 w 789298"/>
              <a:gd name="connsiteY1" fmla="*/ 51225 h 699134"/>
              <a:gd name="connsiteX2" fmla="*/ 537524 w 789298"/>
              <a:gd name="connsiteY2" fmla="*/ 135693 h 699134"/>
              <a:gd name="connsiteX3" fmla="*/ 394649 w 789298"/>
              <a:gd name="connsiteY3" fmla="*/ 0 h 699134"/>
              <a:gd name="connsiteX4" fmla="*/ 0 w 789298"/>
              <a:gd name="connsiteY4" fmla="*/ 374885 h 699134"/>
              <a:gd name="connsiteX5" fmla="*/ 61808 w 789298"/>
              <a:gd name="connsiteY5" fmla="*/ 436683 h 699134"/>
              <a:gd name="connsiteX6" fmla="*/ 108899 w 789298"/>
              <a:gd name="connsiteY6" fmla="*/ 392087 h 699134"/>
              <a:gd name="connsiteX7" fmla="*/ 108899 w 789298"/>
              <a:gd name="connsiteY7" fmla="*/ 698906 h 699134"/>
              <a:gd name="connsiteX8" fmla="*/ 347024 w 789298"/>
              <a:gd name="connsiteY8" fmla="*/ 699002 h 699134"/>
              <a:gd name="connsiteX9" fmla="*/ 347024 w 789298"/>
              <a:gd name="connsiteY9" fmla="*/ 460953 h 699134"/>
              <a:gd name="connsiteX10" fmla="*/ 442274 w 789298"/>
              <a:gd name="connsiteY10" fmla="*/ 460953 h 699134"/>
              <a:gd name="connsiteX11" fmla="*/ 442274 w 789298"/>
              <a:gd name="connsiteY11" fmla="*/ 699078 h 699134"/>
              <a:gd name="connsiteX12" fmla="*/ 680399 w 789298"/>
              <a:gd name="connsiteY12" fmla="*/ 699135 h 699134"/>
              <a:gd name="connsiteX13" fmla="*/ 680399 w 789298"/>
              <a:gd name="connsiteY13" fmla="*/ 391687 h 699134"/>
              <a:gd name="connsiteX14" fmla="*/ 727729 w 789298"/>
              <a:gd name="connsiteY14" fmla="*/ 436455 h 699134"/>
              <a:gd name="connsiteX15" fmla="*/ 789299 w 789298"/>
              <a:gd name="connsiteY15" fmla="*/ 374894 h 699134"/>
              <a:gd name="connsiteX16" fmla="*/ 632774 w 789298"/>
              <a:gd name="connsiteY16" fmla="*/ 226181 h 699134"/>
              <a:gd name="connsiteX17" fmla="*/ 556574 w 789298"/>
              <a:gd name="connsiteY17" fmla="*/ 70275 h 699134"/>
              <a:gd name="connsiteX18" fmla="*/ 613724 w 789298"/>
              <a:gd name="connsiteY18" fmla="*/ 70275 h 699134"/>
              <a:gd name="connsiteX19" fmla="*/ 613724 w 789298"/>
              <a:gd name="connsiteY19" fmla="*/ 208083 h 699134"/>
              <a:gd name="connsiteX20" fmla="*/ 556574 w 789298"/>
              <a:gd name="connsiteY20" fmla="*/ 153791 h 699134"/>
              <a:gd name="connsiteX21" fmla="*/ 661349 w 789298"/>
              <a:gd name="connsiteY21" fmla="*/ 680085 h 699134"/>
              <a:gd name="connsiteX22" fmla="*/ 461324 w 789298"/>
              <a:gd name="connsiteY22" fmla="*/ 679999 h 699134"/>
              <a:gd name="connsiteX23" fmla="*/ 461324 w 789298"/>
              <a:gd name="connsiteY23" fmla="*/ 441874 h 699134"/>
              <a:gd name="connsiteX24" fmla="*/ 327974 w 789298"/>
              <a:gd name="connsiteY24" fmla="*/ 441874 h 699134"/>
              <a:gd name="connsiteX25" fmla="*/ 327974 w 789298"/>
              <a:gd name="connsiteY25" fmla="*/ 679942 h 699134"/>
              <a:gd name="connsiteX26" fmla="*/ 127949 w 789298"/>
              <a:gd name="connsiteY26" fmla="*/ 679866 h 699134"/>
              <a:gd name="connsiteX27" fmla="*/ 127949 w 789298"/>
              <a:gd name="connsiteY27" fmla="*/ 374047 h 699134"/>
              <a:gd name="connsiteX28" fmla="*/ 394649 w 789298"/>
              <a:gd name="connsiteY28" fmla="*/ 121482 h 699134"/>
              <a:gd name="connsiteX29" fmla="*/ 661349 w 789298"/>
              <a:gd name="connsiteY29" fmla="*/ 373675 h 699134"/>
              <a:gd name="connsiteX30" fmla="*/ 62160 w 789298"/>
              <a:gd name="connsiteY30" fmla="*/ 410108 h 699134"/>
              <a:gd name="connsiteX31" fmla="*/ 27299 w 789298"/>
              <a:gd name="connsiteY31" fmla="*/ 375285 h 699134"/>
              <a:gd name="connsiteX32" fmla="*/ 394649 w 789298"/>
              <a:gd name="connsiteY32" fmla="*/ 26251 h 699134"/>
              <a:gd name="connsiteX33" fmla="*/ 762000 w 789298"/>
              <a:gd name="connsiteY33" fmla="*/ 375285 h 699134"/>
              <a:gd name="connsiteX34" fmla="*/ 727358 w 789298"/>
              <a:gd name="connsiteY34" fmla="*/ 409880 h 699134"/>
              <a:gd name="connsiteX35" fmla="*/ 394649 w 789298"/>
              <a:gd name="connsiteY35" fmla="*/ 95250 h 699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9298" h="699134">
                <a:moveTo>
                  <a:pt x="632774" y="51225"/>
                </a:moveTo>
                <a:lnTo>
                  <a:pt x="537524" y="51225"/>
                </a:lnTo>
                <a:lnTo>
                  <a:pt x="537524" y="135693"/>
                </a:lnTo>
                <a:lnTo>
                  <a:pt x="394649" y="0"/>
                </a:lnTo>
                <a:lnTo>
                  <a:pt x="0" y="374885"/>
                </a:lnTo>
                <a:lnTo>
                  <a:pt x="61808" y="436683"/>
                </a:lnTo>
                <a:lnTo>
                  <a:pt x="108899" y="392087"/>
                </a:lnTo>
                <a:lnTo>
                  <a:pt x="108899" y="698906"/>
                </a:lnTo>
                <a:lnTo>
                  <a:pt x="347024" y="699002"/>
                </a:lnTo>
                <a:lnTo>
                  <a:pt x="347024" y="460953"/>
                </a:lnTo>
                <a:lnTo>
                  <a:pt x="442274" y="460953"/>
                </a:lnTo>
                <a:lnTo>
                  <a:pt x="442274" y="699078"/>
                </a:lnTo>
                <a:lnTo>
                  <a:pt x="680399" y="699135"/>
                </a:lnTo>
                <a:lnTo>
                  <a:pt x="680399" y="391687"/>
                </a:lnTo>
                <a:lnTo>
                  <a:pt x="727729" y="436455"/>
                </a:lnTo>
                <a:lnTo>
                  <a:pt x="789299" y="374894"/>
                </a:lnTo>
                <a:lnTo>
                  <a:pt x="632774" y="226181"/>
                </a:lnTo>
                <a:close/>
                <a:moveTo>
                  <a:pt x="556574" y="70275"/>
                </a:moveTo>
                <a:lnTo>
                  <a:pt x="613724" y="70275"/>
                </a:lnTo>
                <a:lnTo>
                  <a:pt x="613724" y="208083"/>
                </a:lnTo>
                <a:lnTo>
                  <a:pt x="556574" y="153791"/>
                </a:lnTo>
                <a:close/>
                <a:moveTo>
                  <a:pt x="661349" y="680085"/>
                </a:moveTo>
                <a:lnTo>
                  <a:pt x="461324" y="679999"/>
                </a:lnTo>
                <a:lnTo>
                  <a:pt x="461324" y="441874"/>
                </a:lnTo>
                <a:lnTo>
                  <a:pt x="327974" y="441874"/>
                </a:lnTo>
                <a:lnTo>
                  <a:pt x="327974" y="679942"/>
                </a:lnTo>
                <a:lnTo>
                  <a:pt x="127949" y="679866"/>
                </a:lnTo>
                <a:lnTo>
                  <a:pt x="127949" y="374047"/>
                </a:lnTo>
                <a:lnTo>
                  <a:pt x="394649" y="121482"/>
                </a:lnTo>
                <a:lnTo>
                  <a:pt x="661349" y="373675"/>
                </a:lnTo>
                <a:close/>
                <a:moveTo>
                  <a:pt x="62160" y="410108"/>
                </a:moveTo>
                <a:lnTo>
                  <a:pt x="27299" y="375285"/>
                </a:lnTo>
                <a:lnTo>
                  <a:pt x="394649" y="26251"/>
                </a:lnTo>
                <a:lnTo>
                  <a:pt x="762000" y="375285"/>
                </a:lnTo>
                <a:lnTo>
                  <a:pt x="727358" y="409880"/>
                </a:lnTo>
                <a:lnTo>
                  <a:pt x="394649" y="9525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75" name="Grafik 74" descr="Produktion">
            <a:extLst>
              <a:ext uri="{FF2B5EF4-FFF2-40B4-BE49-F238E27FC236}">
                <a16:creationId xmlns:a16="http://schemas.microsoft.com/office/drawing/2014/main" id="{744E7058-5C3A-43EA-B6BC-1701849D23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3392" y="5560105"/>
            <a:ext cx="533097" cy="533097"/>
          </a:xfrm>
          <a:prstGeom prst="rect">
            <a:avLst/>
          </a:prstGeom>
        </p:spPr>
      </p:pic>
      <p:pic>
        <p:nvPicPr>
          <p:cNvPr id="76" name="Grafik 75" descr="Einkaufskorb">
            <a:extLst>
              <a:ext uri="{FF2B5EF4-FFF2-40B4-BE49-F238E27FC236}">
                <a16:creationId xmlns:a16="http://schemas.microsoft.com/office/drawing/2014/main" id="{B7A23FAA-09A8-43CF-BF72-38837B1D17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80597" y="5590830"/>
            <a:ext cx="477658" cy="477658"/>
          </a:xfrm>
          <a:prstGeom prst="rect">
            <a:avLst/>
          </a:prstGeom>
        </p:spPr>
      </p:pic>
      <p:pic>
        <p:nvPicPr>
          <p:cNvPr id="77" name="Grafik 76" descr="Voller Akku">
            <a:extLst>
              <a:ext uri="{FF2B5EF4-FFF2-40B4-BE49-F238E27FC236}">
                <a16:creationId xmlns:a16="http://schemas.microsoft.com/office/drawing/2014/main" id="{57391A5A-4DD8-4EF7-809A-67BCDE29DB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26797" y="5633280"/>
            <a:ext cx="454133" cy="454133"/>
          </a:xfrm>
          <a:prstGeom prst="rect">
            <a:avLst/>
          </a:prstGeom>
        </p:spPr>
      </p:pic>
      <p:sp>
        <p:nvSpPr>
          <p:cNvPr id="78" name="Textfeld 77">
            <a:extLst>
              <a:ext uri="{FF2B5EF4-FFF2-40B4-BE49-F238E27FC236}">
                <a16:creationId xmlns:a16="http://schemas.microsoft.com/office/drawing/2014/main" id="{13F689E9-7940-4647-A3E2-68EC24992AFF}"/>
              </a:ext>
            </a:extLst>
          </p:cNvPr>
          <p:cNvSpPr txBox="1"/>
          <p:nvPr/>
        </p:nvSpPr>
        <p:spPr>
          <a:xfrm>
            <a:off x="5953226" y="2022199"/>
            <a:ext cx="1188091" cy="26161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1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(780; 3000)</a:t>
            </a:r>
          </a:p>
        </p:txBody>
      </p:sp>
    </p:spTree>
    <p:extLst>
      <p:ext uri="{BB962C8B-B14F-4D97-AF65-F5344CB8AC3E}">
        <p14:creationId xmlns:p14="http://schemas.microsoft.com/office/powerpoint/2010/main" val="775093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1" grpId="0" animBg="1"/>
      <p:bldP spid="111" grpId="0"/>
      <p:bldP spid="122" grpId="0" animBg="1"/>
      <p:bldP spid="78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9290D8-9BA2-4D8E-A2AF-AA8ADF6D7CD1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6 – Übertragungsnetzbetreib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3BCB835-F7BE-479C-9DAB-48A87A7F05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C67523A8-6E89-467D-AC87-303AB2F0EA23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A7C59-D18A-4730-92F6-C95FFB263C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0FEA39-02ED-42E8-8B00-86B16885F8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59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59C992-9DB4-40BF-84CE-440030F6B83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er Übertragungsnetzbetreiber übernimmt zurzeit nur die Aufgabe der Lastflussrechnung ohne steuernden Eingriff.</a:t>
            </a: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CE5850E-53FF-4F8A-9D7B-37F90758029D}"/>
              </a:ext>
            </a:extLst>
          </p:cNvPr>
          <p:cNvGrpSpPr/>
          <p:nvPr/>
        </p:nvGrpSpPr>
        <p:grpSpPr>
          <a:xfrm>
            <a:off x="1573104" y="2293202"/>
            <a:ext cx="9045791" cy="3152022"/>
            <a:chOff x="2205126" y="2192038"/>
            <a:chExt cx="7052904" cy="2457597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24D1B3D-FBA3-413F-A0B3-8B25912F7607}"/>
                </a:ext>
              </a:extLst>
            </p:cNvPr>
            <p:cNvSpPr/>
            <p:nvPr/>
          </p:nvSpPr>
          <p:spPr>
            <a:xfrm>
              <a:off x="5506099" y="2192038"/>
              <a:ext cx="476401" cy="2441270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/>
              <a:r>
                <a:rPr lang="de-DE" sz="1400" b="1" dirty="0"/>
                <a:t>NET Agen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1296E71-81B3-4D24-9A78-D409DD902710}"/>
                </a:ext>
              </a:extLst>
            </p:cNvPr>
            <p:cNvSpPr/>
            <p:nvPr/>
          </p:nvSpPr>
          <p:spPr>
            <a:xfrm>
              <a:off x="7680176" y="2208365"/>
              <a:ext cx="1577854" cy="2441270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400" b="1" dirty="0"/>
                <a:t>Ergebnisse</a:t>
              </a:r>
            </a:p>
            <a:p>
              <a:r>
                <a:rPr lang="de-DE" sz="1400" b="1" dirty="0"/>
                <a:t>der Agenten</a:t>
              </a:r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endParaRPr lang="de-DE" sz="1400" b="1" dirty="0"/>
            </a:p>
            <a:p>
              <a:pPr algn="ctr"/>
              <a:r>
                <a:rPr lang="de-DE" sz="1100" i="1" dirty="0" err="1">
                  <a:solidFill>
                    <a:schemeClr val="tx1"/>
                  </a:solidFill>
                </a:rPr>
                <a:t>InfluxDB</a:t>
              </a:r>
              <a:endParaRPr lang="de-DE" sz="1400" b="1" dirty="0"/>
            </a:p>
          </p:txBody>
        </p:sp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B2B6D6C3-79D0-40B8-9AB9-3511BB906985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260727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38D21F61-6A72-40AC-83D0-2D942761FDEB}"/>
                </a:ext>
              </a:extLst>
            </p:cNvPr>
            <p:cNvSpPr txBox="1"/>
            <p:nvPr/>
          </p:nvSpPr>
          <p:spPr>
            <a:xfrm>
              <a:off x="3776875" y="237710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rk- &amp; Blindleistung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astfluss</a:t>
              </a:r>
            </a:p>
          </p:txBody>
        </p: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7EF4882-B3F0-4F54-B989-3EA6D6BC913A}"/>
                </a:ext>
              </a:extLst>
            </p:cNvPr>
            <p:cNvSpPr txBox="1"/>
            <p:nvPr/>
          </p:nvSpPr>
          <p:spPr>
            <a:xfrm>
              <a:off x="3640352" y="3952365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0CB5AEE6-1D51-4204-B028-CCBABF966EB2}"/>
                </a:ext>
              </a:extLst>
            </p:cNvPr>
            <p:cNvSpPr/>
            <p:nvPr/>
          </p:nvSpPr>
          <p:spPr>
            <a:xfrm>
              <a:off x="2205126" y="2192038"/>
              <a:ext cx="1577854" cy="24318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de-DE" sz="1400" b="1" dirty="0">
                  <a:solidFill>
                    <a:schemeClr val="tx1"/>
                  </a:solidFill>
                </a:rPr>
                <a:t>Portfolio</a:t>
              </a:r>
              <a:endParaRPr lang="de-DE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7710D93-470C-46D9-8021-93CB8E4BE1F6}"/>
                </a:ext>
              </a:extLst>
            </p:cNvPr>
            <p:cNvCxnSpPr>
              <a:cxnSpLocks/>
            </p:cNvCxnSpPr>
            <p:nvPr/>
          </p:nvCxnSpPr>
          <p:spPr>
            <a:xfrm>
              <a:off x="3782980" y="4160442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AF102DCE-D57B-43D4-B251-9EE670BBF0CE}"/>
                </a:ext>
              </a:extLst>
            </p:cNvPr>
            <p:cNvSpPr txBox="1"/>
            <p:nvPr/>
          </p:nvSpPr>
          <p:spPr>
            <a:xfrm>
              <a:off x="3786049" y="3925521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chnisch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Rahmenbedingungen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65CAAF4E-C7FC-44CA-8BEF-E8B8BF864DC0}"/>
                </a:ext>
              </a:extLst>
            </p:cNvPr>
            <p:cNvSpPr txBox="1"/>
            <p:nvPr/>
          </p:nvSpPr>
          <p:spPr>
            <a:xfrm>
              <a:off x="3607532" y="2614237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</a:p>
          </p:txBody>
        </p: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67313723-81A5-4D25-B662-5A575259C213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2597331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1F15FB81-3DE1-4779-B039-A52DA04CCD10}"/>
                </a:ext>
              </a:extLst>
            </p:cNvPr>
            <p:cNvCxnSpPr>
              <a:cxnSpLocks/>
            </p:cNvCxnSpPr>
            <p:nvPr/>
          </p:nvCxnSpPr>
          <p:spPr>
            <a:xfrm>
              <a:off x="5982500" y="4156316"/>
              <a:ext cx="1686309" cy="0"/>
            </a:xfrm>
            <a:prstGeom prst="straightConnector1">
              <a:avLst/>
            </a:prstGeom>
            <a:ln w="28575">
              <a:solidFill>
                <a:schemeClr val="accent6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4906EA4-B075-43C1-AB3F-2475F2A894AF}"/>
                </a:ext>
              </a:extLst>
            </p:cNvPr>
            <p:cNvSpPr txBox="1"/>
            <p:nvPr/>
          </p:nvSpPr>
          <p:spPr>
            <a:xfrm>
              <a:off x="5968195" y="3918094"/>
              <a:ext cx="1730072" cy="46794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ahrpläne</a:t>
              </a:r>
            </a:p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400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r Agenten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C3CADA-504B-49BD-8182-A3F4251FB01B}"/>
                </a:ext>
              </a:extLst>
            </p:cNvPr>
            <p:cNvSpPr txBox="1"/>
            <p:nvPr/>
          </p:nvSpPr>
          <p:spPr>
            <a:xfrm>
              <a:off x="5902414" y="3960089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EA93F1E5-0F35-4AAE-A37D-5B19753DC009}"/>
                </a:ext>
              </a:extLst>
            </p:cNvPr>
            <p:cNvSpPr txBox="1"/>
            <p:nvPr/>
          </p:nvSpPr>
          <p:spPr>
            <a:xfrm>
              <a:off x="5982499" y="2365729"/>
              <a:ext cx="1695982" cy="239970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endParaRPr lang="de-DE" sz="14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9406D435-D661-486C-81A9-EB5E17C0BF9A}"/>
                </a:ext>
              </a:extLst>
            </p:cNvPr>
            <p:cNvSpPr txBox="1"/>
            <p:nvPr/>
          </p:nvSpPr>
          <p:spPr>
            <a:xfrm>
              <a:off x="5794129" y="2389726"/>
              <a:ext cx="743774" cy="215973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</a:p>
          </p:txBody>
        </p:sp>
      </p:grpSp>
      <p:pic>
        <p:nvPicPr>
          <p:cNvPr id="75778" name="Picture 2">
            <a:extLst>
              <a:ext uri="{FF2B5EF4-FFF2-40B4-BE49-F238E27FC236}">
                <a16:creationId xmlns:a16="http://schemas.microsoft.com/office/drawing/2014/main" id="{8AF600EC-7C07-41B4-899A-A58A79C0AA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31" t="17228" r="15995" b="9424"/>
          <a:stretch/>
        </p:blipFill>
        <p:spPr bwMode="auto">
          <a:xfrm>
            <a:off x="1605051" y="2845127"/>
            <a:ext cx="1913817" cy="2146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Datenbank">
            <a:extLst>
              <a:ext uri="{FF2B5EF4-FFF2-40B4-BE49-F238E27FC236}">
                <a16:creationId xmlns:a16="http://schemas.microsoft.com/office/drawing/2014/main" id="{2036D7F6-F17B-4C2B-851B-92FF11CA30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54980" y="3165040"/>
            <a:ext cx="1527337" cy="152733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798E0F8-9CD2-406D-A259-33C22F702D0D}"/>
              </a:ext>
            </a:extLst>
          </p:cNvPr>
          <p:cNvSpPr txBox="1"/>
          <p:nvPr/>
        </p:nvSpPr>
        <p:spPr>
          <a:xfrm>
            <a:off x="6354823" y="2490409"/>
            <a:ext cx="2218926" cy="60016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4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ichern der</a:t>
            </a:r>
          </a:p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400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gebnisse</a:t>
            </a:r>
          </a:p>
        </p:txBody>
      </p:sp>
    </p:spTree>
    <p:extLst>
      <p:ext uri="{BB962C8B-B14F-4D97-AF65-F5344CB8AC3E}">
        <p14:creationId xmlns:p14="http://schemas.microsoft.com/office/powerpoint/2010/main" val="3501566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49D40D-BCBF-4A88-B699-6C7DB076E4F5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2 – Infrastruktur der Simul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2638AF-36D0-4F97-BD78-79E0DE9B6E3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5D66C9C7-A442-4FFD-B69D-C0CDBEF1CC6F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0E9AAE-3B4A-4DA1-8E26-A3CCC15ACF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5291B1-15B5-4B94-9B3A-5E9D0674850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6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366723-C095-4AEE-B9CF-FC79D99C90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Um eine gute Performance der Simulation zu gewährleisten, wird eine verteile Infrastruktur verwendet, die leicht zu erweitern ist.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668A970-317B-4A0B-9357-BA7EB9BFBF88}"/>
              </a:ext>
            </a:extLst>
          </p:cNvPr>
          <p:cNvGrpSpPr/>
          <p:nvPr/>
        </p:nvGrpSpPr>
        <p:grpSpPr>
          <a:xfrm>
            <a:off x="561829" y="1971054"/>
            <a:ext cx="2077787" cy="4050234"/>
            <a:chOff x="561829" y="1971054"/>
            <a:chExt cx="2077787" cy="4050234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6784BE33-7A4B-4DD9-A4A5-AC455DC476ED}"/>
                </a:ext>
              </a:extLst>
            </p:cNvPr>
            <p:cNvSpPr/>
            <p:nvPr/>
          </p:nvSpPr>
          <p:spPr>
            <a:xfrm>
              <a:off x="561829" y="1971054"/>
              <a:ext cx="2077787" cy="405023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149.201.88.150</a:t>
              </a: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tx1"/>
                  </a:solidFill>
                </a:rPr>
                <a:t>InfluxDB</a:t>
              </a:r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tx1"/>
                  </a:solidFill>
                </a:rPr>
                <a:t>MongoDB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tx1"/>
                  </a:solidFill>
                </a:rPr>
                <a:t>Plattform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tx1"/>
                  </a:solidFill>
                </a:rPr>
                <a:t>Grafana</a:t>
              </a:r>
              <a:endParaRPr lang="de-DE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11" name="Grafik 10" descr="Server">
              <a:extLst>
                <a:ext uri="{FF2B5EF4-FFF2-40B4-BE49-F238E27FC236}">
                  <a16:creationId xmlns:a16="http://schemas.microsoft.com/office/drawing/2014/main" id="{E2E54958-3B8B-49FE-81F6-EA1016F50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77711" y="2345075"/>
              <a:ext cx="914400" cy="914400"/>
            </a:xfrm>
            <a:prstGeom prst="rect">
              <a:avLst/>
            </a:prstGeom>
          </p:spPr>
        </p:pic>
        <p:pic>
          <p:nvPicPr>
            <p:cNvPr id="13" name="Grafik 12" descr="Server">
              <a:extLst>
                <a:ext uri="{FF2B5EF4-FFF2-40B4-BE49-F238E27FC236}">
                  <a16:creationId xmlns:a16="http://schemas.microsoft.com/office/drawing/2014/main" id="{ECB79C94-BDB0-43D2-B0DB-827B7E56D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7711" y="3223909"/>
              <a:ext cx="914400" cy="914400"/>
            </a:xfrm>
            <a:prstGeom prst="rect">
              <a:avLst/>
            </a:prstGeom>
          </p:spPr>
        </p:pic>
        <p:pic>
          <p:nvPicPr>
            <p:cNvPr id="15" name="Grafik 14" descr="Server">
              <a:extLst>
                <a:ext uri="{FF2B5EF4-FFF2-40B4-BE49-F238E27FC236}">
                  <a16:creationId xmlns:a16="http://schemas.microsoft.com/office/drawing/2014/main" id="{60DB2497-5334-457D-9E25-204A1AF8850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711" y="4102743"/>
              <a:ext cx="914400" cy="914400"/>
            </a:xfrm>
            <a:prstGeom prst="rect">
              <a:avLst/>
            </a:prstGeom>
          </p:spPr>
        </p:pic>
        <p:pic>
          <p:nvPicPr>
            <p:cNvPr id="19" name="Grafik 18" descr="Server">
              <a:extLst>
                <a:ext uri="{FF2B5EF4-FFF2-40B4-BE49-F238E27FC236}">
                  <a16:creationId xmlns:a16="http://schemas.microsoft.com/office/drawing/2014/main" id="{669620A2-0F38-4DE2-9C14-DD14A4E347F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7711" y="4981578"/>
              <a:ext cx="914400" cy="914400"/>
            </a:xfrm>
            <a:prstGeom prst="rect">
              <a:avLst/>
            </a:prstGeom>
          </p:spPr>
        </p:pic>
      </p:grp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589D728-90A6-42ED-B841-291C518DBC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15680" y="1963316"/>
            <a:ext cx="8198720" cy="4012037"/>
          </a:xfrm>
        </p:spPr>
        <p:txBody>
          <a:bodyPr/>
          <a:lstStyle/>
          <a:p>
            <a:pPr marL="0" indent="0">
              <a:buNone/>
            </a:pPr>
            <a:r>
              <a:rPr lang="de-DE" sz="1400" b="1" dirty="0" err="1"/>
              <a:t>InfluxDB</a:t>
            </a:r>
            <a:r>
              <a:rPr lang="de-DE" sz="1400" dirty="0"/>
              <a:t> </a:t>
            </a:r>
          </a:p>
          <a:p>
            <a:r>
              <a:rPr lang="de-DE" sz="1400" dirty="0"/>
              <a:t>Bereitstellung der Wetterdaten für die Simulation</a:t>
            </a:r>
          </a:p>
          <a:p>
            <a:r>
              <a:rPr lang="de-DE" sz="1400" dirty="0"/>
              <a:t>Datenbank zur Speicherung der Simulationsergebnisse im Zeitreihenformat</a:t>
            </a:r>
          </a:p>
          <a:p>
            <a:endParaRPr lang="de-DE" sz="1050" b="1" dirty="0"/>
          </a:p>
          <a:p>
            <a:pPr marL="0" indent="0">
              <a:buNone/>
            </a:pPr>
            <a:r>
              <a:rPr lang="de-DE" sz="1400" b="1" dirty="0"/>
              <a:t>MongoDB</a:t>
            </a:r>
            <a:r>
              <a:rPr lang="de-DE" sz="1400" dirty="0"/>
              <a:t> </a:t>
            </a:r>
          </a:p>
          <a:p>
            <a:r>
              <a:rPr lang="de-DE" sz="1400" dirty="0"/>
              <a:t>Bereitstellung der Struktur- und Metadaten für die Simulation</a:t>
            </a:r>
          </a:p>
          <a:p>
            <a:r>
              <a:rPr lang="de-DE" sz="1400" dirty="0"/>
              <a:t>Datenbank zur Speicherung der Orderbücher</a:t>
            </a:r>
          </a:p>
          <a:p>
            <a:endParaRPr lang="de-DE" sz="1050" b="1" dirty="0"/>
          </a:p>
          <a:p>
            <a:pPr marL="0" indent="0">
              <a:buNone/>
            </a:pPr>
            <a:r>
              <a:rPr lang="de-DE" sz="1400" b="1" dirty="0"/>
              <a:t>Plattform</a:t>
            </a:r>
            <a:r>
              <a:rPr lang="de-DE" sz="1400" dirty="0"/>
              <a:t> </a:t>
            </a:r>
          </a:p>
          <a:p>
            <a:r>
              <a:rPr lang="de-DE" sz="1400" dirty="0"/>
              <a:t>Koordination der Agenten und übergeordnete Aufgaben</a:t>
            </a:r>
          </a:p>
          <a:p>
            <a:endParaRPr lang="de-DE" sz="1050" dirty="0"/>
          </a:p>
          <a:p>
            <a:pPr marL="0" indent="0">
              <a:buNone/>
            </a:pPr>
            <a:r>
              <a:rPr lang="de-DE" sz="1400" b="1" dirty="0" err="1"/>
              <a:t>Grafana</a:t>
            </a:r>
            <a:r>
              <a:rPr lang="de-DE" sz="1400" dirty="0"/>
              <a:t> </a:t>
            </a:r>
          </a:p>
          <a:p>
            <a:r>
              <a:rPr lang="de-DE" sz="1400" dirty="0"/>
              <a:t>Darstellung der Simulationsergebnisse</a:t>
            </a:r>
          </a:p>
        </p:txBody>
      </p:sp>
    </p:spTree>
    <p:extLst>
      <p:ext uri="{BB962C8B-B14F-4D97-AF65-F5344CB8AC3E}">
        <p14:creationId xmlns:p14="http://schemas.microsoft.com/office/powerpoint/2010/main" val="6080746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01498F8-F1EF-4C1D-9EFD-855CEE6462EE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7 – Ergebnis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B781B3-4FFB-422B-9284-87C0868BDEA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FFBD0218-73DC-4B46-BB52-85375D6D3F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0A8D8B-FD8B-4438-A4C2-115A9563BD3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2C27E9-5B79-42CA-AB50-6A744961E2C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60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AC45E3-8E4D-4F63-87E8-D1990F988F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Ergebnisse und Projektverwaltung der verteilten agentenbasierten Simulation.</a:t>
            </a:r>
          </a:p>
        </p:txBody>
      </p:sp>
      <p:pic>
        <p:nvPicPr>
          <p:cNvPr id="9" name="Grafik 8">
            <a:hlinkClick r:id="rId2"/>
            <a:extLst>
              <a:ext uri="{FF2B5EF4-FFF2-40B4-BE49-F238E27FC236}">
                <a16:creationId xmlns:a16="http://schemas.microsoft.com/office/drawing/2014/main" id="{FEF3E43A-AA23-436F-B53D-B045FD7D6C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514"/>
          <a:stretch/>
        </p:blipFill>
        <p:spPr>
          <a:xfrm>
            <a:off x="1594544" y="2742403"/>
            <a:ext cx="1322057" cy="1373194"/>
          </a:xfrm>
          <a:prstGeom prst="rect">
            <a:avLst/>
          </a:prstGeom>
        </p:spPr>
      </p:pic>
      <p:pic>
        <p:nvPicPr>
          <p:cNvPr id="58370" name="Picture 2" descr="Gitlab Logo Icon of Flat style - Available in SVG, PNG, EPS, AI ...">
            <a:hlinkClick r:id="rId4"/>
            <a:extLst>
              <a:ext uri="{FF2B5EF4-FFF2-40B4-BE49-F238E27FC236}">
                <a16:creationId xmlns:a16="http://schemas.microsoft.com/office/drawing/2014/main" id="{B1C6D784-2F2A-4D27-8FED-3F53F68B7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262" y="2742403"/>
            <a:ext cx="1373194" cy="1373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5FF3CE4-6135-4EC9-B94F-B477BE6E7F4F}"/>
              </a:ext>
            </a:extLst>
          </p:cNvPr>
          <p:cNvSpPr txBox="1"/>
          <p:nvPr/>
        </p:nvSpPr>
        <p:spPr>
          <a:xfrm>
            <a:off x="1496248" y="4293096"/>
            <a:ext cx="1518648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gebniss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CA5FC35-292D-4E9A-8BC4-BFF9A7A854A4}"/>
              </a:ext>
            </a:extLst>
          </p:cNvPr>
          <p:cNvSpPr txBox="1"/>
          <p:nvPr/>
        </p:nvSpPr>
        <p:spPr>
          <a:xfrm>
            <a:off x="9151535" y="4293096"/>
            <a:ext cx="1518648" cy="338554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Clr>
                <a:schemeClr val="accent2">
                  <a:lumMod val="50000"/>
                </a:schemeClr>
              </a:buClr>
              <a:buSzPct val="110000"/>
            </a:pPr>
            <a:r>
              <a:rPr lang="de-DE" sz="1600" b="1" kern="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waltung</a:t>
            </a:r>
          </a:p>
        </p:txBody>
      </p:sp>
    </p:spTree>
    <p:extLst>
      <p:ext uri="{BB962C8B-B14F-4D97-AF65-F5344CB8AC3E}">
        <p14:creationId xmlns:p14="http://schemas.microsoft.com/office/powerpoint/2010/main" val="129970938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BE8D2C1-2265-49C5-A67D-2F0B473D3BF7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8 – Veröffentlich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6BD86B-1D4C-4DA2-A9EC-739C996B63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Wissenschaft und Stand der Technik</a:t>
            </a:r>
          </a:p>
          <a:p>
            <a:endParaRPr lang="de-DE" dirty="0"/>
          </a:p>
          <a:p>
            <a:r>
              <a:rPr lang="de-DE" dirty="0"/>
              <a:t>Beschreibung der Modelle</a:t>
            </a:r>
          </a:p>
          <a:p>
            <a:pPr lvl="1"/>
            <a:r>
              <a:rPr lang="de-DE" dirty="0"/>
              <a:t>Fundamentalmodell BET</a:t>
            </a:r>
          </a:p>
          <a:p>
            <a:pPr lvl="1"/>
            <a:r>
              <a:rPr lang="de-DE" dirty="0" err="1"/>
              <a:t>AGent</a:t>
            </a:r>
            <a:r>
              <a:rPr lang="de-DE" dirty="0"/>
              <a:t>-DE</a:t>
            </a:r>
          </a:p>
          <a:p>
            <a:endParaRPr lang="de-DE" dirty="0"/>
          </a:p>
          <a:p>
            <a:r>
              <a:rPr lang="de-DE" dirty="0"/>
              <a:t>Rahmenbedingungen (Case-Study)</a:t>
            </a:r>
          </a:p>
          <a:p>
            <a:endParaRPr lang="de-DE" dirty="0"/>
          </a:p>
          <a:p>
            <a:r>
              <a:rPr lang="de-DE" dirty="0"/>
              <a:t>Bewertungskriterien</a:t>
            </a:r>
          </a:p>
          <a:p>
            <a:endParaRPr lang="de-DE" dirty="0"/>
          </a:p>
          <a:p>
            <a:r>
              <a:rPr lang="de-DE" dirty="0"/>
              <a:t>Ergebnis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F294D0-538D-407E-A23C-DF505D0AE68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FFBD0218-73DC-4B46-BB52-85375D6D3F98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E05BF4-3BA6-4CB0-BF91-19717CC1B74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DFAEA4-4FFA-42E5-A13A-3C9F180D5AB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61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900D489-7E89-42BA-927E-BFFAAE415F9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Wie lässt sich die Preisbildung im deutschen Spot Markt simulieren? Ein kompetitiver Vergleich zwischen fundamental und agentenbasiertem Ansatz. </a:t>
            </a:r>
          </a:p>
        </p:txBody>
      </p:sp>
    </p:spTree>
    <p:extLst>
      <p:ext uri="{BB962C8B-B14F-4D97-AF65-F5344CB8AC3E}">
        <p14:creationId xmlns:p14="http://schemas.microsoft.com/office/powerpoint/2010/main" val="22513034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49D40D-BCBF-4A88-B699-6C7DB076E4F5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2 – Infrastruktur der Simul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2638AF-36D0-4F97-BD78-79E0DE9B6E3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AE69820E-E428-4654-8FF3-416C24A66569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0E9AAE-3B4A-4DA1-8E26-A3CCC15ACF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5291B1-15B5-4B94-9B3A-5E9D0674850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7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366723-C095-4AEE-B9CF-FC79D99C90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In der </a:t>
            </a:r>
            <a:r>
              <a:rPr lang="de-DE" dirty="0" err="1"/>
              <a:t>InfluxDB</a:t>
            </a:r>
            <a:r>
              <a:rPr lang="de-DE" dirty="0"/>
              <a:t> werden alle Ergebnisse im Zeitreihenformat gespeichert. Durch zusätzliche Bezeichner können die Daten aggregiert und ausgewertet werden.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589D728-90A6-42ED-B841-291C518DBC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15680" y="1963316"/>
            <a:ext cx="8198720" cy="4012037"/>
          </a:xfrm>
        </p:spPr>
        <p:txBody>
          <a:bodyPr/>
          <a:lstStyle/>
          <a:p>
            <a:r>
              <a:rPr lang="de-DE" sz="1400" dirty="0"/>
              <a:t>Jeder Agent eines Gebietet speichert seine Ergebnisse in der </a:t>
            </a:r>
            <a:r>
              <a:rPr lang="de-DE" sz="1400" b="1" dirty="0"/>
              <a:t>Tabelle Areas</a:t>
            </a:r>
            <a:endParaRPr lang="de-DE" sz="1400" dirty="0"/>
          </a:p>
          <a:p>
            <a:pPr marL="728663" lvl="1" indent="-271463"/>
            <a:r>
              <a:rPr lang="de-DE" sz="1200" dirty="0"/>
              <a:t>Erzeugungsleistungen &amp; Speicherfüllstände</a:t>
            </a:r>
          </a:p>
          <a:p>
            <a:pPr marL="728663" lvl="1" indent="-271463"/>
            <a:r>
              <a:rPr lang="de-DE" sz="1200" dirty="0"/>
              <a:t>Strom- und Wärmebedarf</a:t>
            </a:r>
          </a:p>
          <a:p>
            <a:pPr marL="728663" lvl="1" indent="-271463"/>
            <a:r>
              <a:rPr lang="de-DE" sz="1200" dirty="0"/>
              <a:t>Handelserlöse &amp;  strategiespezifische Informationen.</a:t>
            </a:r>
          </a:p>
          <a:p>
            <a:pPr marL="266700" indent="0">
              <a:buNone/>
            </a:pPr>
            <a:endParaRPr lang="de-DE" sz="1050" dirty="0"/>
          </a:p>
          <a:p>
            <a:r>
              <a:rPr lang="de-DE" sz="1400" dirty="0"/>
              <a:t>Die Ergebnisse des Market Clearings werden in der </a:t>
            </a:r>
            <a:r>
              <a:rPr lang="de-DE" sz="1400" b="1" dirty="0"/>
              <a:t>Tabelle Day </a:t>
            </a:r>
            <a:r>
              <a:rPr lang="de-DE" sz="1400" b="1" dirty="0" err="1"/>
              <a:t>Ahead</a:t>
            </a:r>
            <a:r>
              <a:rPr lang="de-DE" sz="1400" dirty="0"/>
              <a:t> gespeichert </a:t>
            </a:r>
          </a:p>
          <a:p>
            <a:pPr lvl="1"/>
            <a:r>
              <a:rPr lang="de-DE" sz="1200" dirty="0" err="1"/>
              <a:t>Bezuschlagte</a:t>
            </a:r>
            <a:r>
              <a:rPr lang="de-DE" sz="1200" dirty="0"/>
              <a:t> Angebote</a:t>
            </a:r>
          </a:p>
          <a:p>
            <a:pPr lvl="1"/>
            <a:r>
              <a:rPr lang="de-DE" sz="1200" dirty="0"/>
              <a:t>Preis der Stundenkontrakte</a:t>
            </a:r>
          </a:p>
          <a:p>
            <a:pPr lvl="1"/>
            <a:r>
              <a:rPr lang="de-DE" sz="1200" dirty="0"/>
              <a:t>Handelsvolumen</a:t>
            </a:r>
          </a:p>
          <a:p>
            <a:pPr marL="266700" indent="0">
              <a:buNone/>
            </a:pPr>
            <a:endParaRPr lang="de-DE" sz="1050" dirty="0"/>
          </a:p>
          <a:p>
            <a:pPr marL="266700" indent="-266700"/>
            <a:r>
              <a:rPr lang="de-DE" sz="1400" dirty="0"/>
              <a:t>Das zugehörige Wetter wird in der </a:t>
            </a:r>
            <a:r>
              <a:rPr lang="de-DE" sz="1400" b="1" dirty="0"/>
              <a:t>Tabelle </a:t>
            </a:r>
            <a:r>
              <a:rPr lang="de-DE" sz="1400" b="1" dirty="0" err="1"/>
              <a:t>Weather</a:t>
            </a:r>
            <a:r>
              <a:rPr lang="de-DE" sz="1400" b="1" dirty="0"/>
              <a:t> </a:t>
            </a:r>
            <a:r>
              <a:rPr lang="de-DE" sz="1400" dirty="0"/>
              <a:t>gespeichert</a:t>
            </a:r>
          </a:p>
          <a:p>
            <a:pPr marL="723900" lvl="1" indent="-266700"/>
            <a:r>
              <a:rPr lang="de-DE" sz="1200" dirty="0"/>
              <a:t>Temperatur</a:t>
            </a:r>
          </a:p>
          <a:p>
            <a:pPr marL="723900" lvl="1" indent="-266700"/>
            <a:r>
              <a:rPr lang="de-DE" sz="1200" dirty="0"/>
              <a:t>Windgeschwindigkeit</a:t>
            </a:r>
          </a:p>
          <a:p>
            <a:pPr marL="723900" lvl="1" indent="-266700"/>
            <a:r>
              <a:rPr lang="de-DE" sz="1200" dirty="0"/>
              <a:t>Strahlungsdaten</a:t>
            </a:r>
          </a:p>
          <a:p>
            <a:pPr marL="266700" indent="-266700"/>
            <a:endParaRPr lang="de-DE" sz="1400" dirty="0"/>
          </a:p>
          <a:p>
            <a:pPr marL="552450"/>
            <a:endParaRPr lang="de-DE" sz="1400" dirty="0"/>
          </a:p>
          <a:p>
            <a:pPr lvl="1"/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883EF73-5291-494C-AA9F-11F0C78974E7}"/>
              </a:ext>
            </a:extLst>
          </p:cNvPr>
          <p:cNvGrpSpPr/>
          <p:nvPr/>
        </p:nvGrpSpPr>
        <p:grpSpPr>
          <a:xfrm>
            <a:off x="561829" y="1971054"/>
            <a:ext cx="2077787" cy="4050234"/>
            <a:chOff x="561829" y="1971054"/>
            <a:chExt cx="2077787" cy="4050234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6F0963C-B96E-4D16-9A49-12BA24CAC386}"/>
                </a:ext>
              </a:extLst>
            </p:cNvPr>
            <p:cNvSpPr/>
            <p:nvPr/>
          </p:nvSpPr>
          <p:spPr>
            <a:xfrm>
              <a:off x="561829" y="1971054"/>
              <a:ext cx="2077787" cy="405023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149.201.88.150</a:t>
              </a: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tx1"/>
                  </a:solidFill>
                </a:rPr>
                <a:t>InfluxDB</a:t>
              </a:r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bg1">
                      <a:lumMod val="65000"/>
                    </a:schemeClr>
                  </a:solidFill>
                </a:rPr>
                <a:t>MongoDB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bg1">
                      <a:lumMod val="65000"/>
                    </a:schemeClr>
                  </a:solidFill>
                </a:rPr>
                <a:t>Plattform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bg1">
                      <a:lumMod val="65000"/>
                    </a:schemeClr>
                  </a:solidFill>
                </a:rPr>
                <a:t>Grafana</a:t>
              </a:r>
              <a:endParaRPr lang="de-DE" sz="12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8" name="Grafik 17" descr="Server">
              <a:extLst>
                <a:ext uri="{FF2B5EF4-FFF2-40B4-BE49-F238E27FC236}">
                  <a16:creationId xmlns:a16="http://schemas.microsoft.com/office/drawing/2014/main" id="{5A1156AF-7F00-42CD-B951-C20ECFA19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77711" y="2345075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Server">
              <a:extLst>
                <a:ext uri="{FF2B5EF4-FFF2-40B4-BE49-F238E27FC236}">
                  <a16:creationId xmlns:a16="http://schemas.microsoft.com/office/drawing/2014/main" id="{CAA53FEE-CCEF-4875-B194-BCBDFF2D3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7711" y="3223909"/>
              <a:ext cx="914400" cy="914400"/>
            </a:xfrm>
            <a:prstGeom prst="rect">
              <a:avLst/>
            </a:prstGeom>
          </p:spPr>
        </p:pic>
        <p:pic>
          <p:nvPicPr>
            <p:cNvPr id="22" name="Grafik 21" descr="Server">
              <a:extLst>
                <a:ext uri="{FF2B5EF4-FFF2-40B4-BE49-F238E27FC236}">
                  <a16:creationId xmlns:a16="http://schemas.microsoft.com/office/drawing/2014/main" id="{06A8FB1F-6E4D-4929-89CA-02B0E07D9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711" y="4102743"/>
              <a:ext cx="914400" cy="914400"/>
            </a:xfrm>
            <a:prstGeom prst="rect">
              <a:avLst/>
            </a:prstGeom>
          </p:spPr>
        </p:pic>
        <p:pic>
          <p:nvPicPr>
            <p:cNvPr id="23" name="Grafik 22" descr="Server">
              <a:extLst>
                <a:ext uri="{FF2B5EF4-FFF2-40B4-BE49-F238E27FC236}">
                  <a16:creationId xmlns:a16="http://schemas.microsoft.com/office/drawing/2014/main" id="{CFBFC56B-C465-44D9-BE68-27C883AC3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7711" y="4981578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22671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49D40D-BCBF-4A88-B699-6C7DB076E4F5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2 – Infrastruktur der Simul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2638AF-36D0-4F97-BD78-79E0DE9B6E3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8E942EE8-6AB6-4474-8C48-1FE74D3798BF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0E9AAE-3B4A-4DA1-8E26-A3CCC15ACF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5291B1-15B5-4B94-9B3A-5E9D0674850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8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366723-C095-4AEE-B9CF-FC79D99C90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Strukturdaten bzw. der initiale Aufbau des Energieversorgungssystems ist in der MongoDB gespeichert.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589D728-90A6-42ED-B841-291C518DBC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15680" y="1963316"/>
            <a:ext cx="8198720" cy="4012037"/>
          </a:xfrm>
        </p:spPr>
        <p:txBody>
          <a:bodyPr/>
          <a:lstStyle/>
          <a:p>
            <a:r>
              <a:rPr lang="de-DE" sz="1400" dirty="0"/>
              <a:t>Für jedes Gebiet sind Informationen über die enthaltenen Energiesysteme abgelegt:</a:t>
            </a:r>
          </a:p>
          <a:p>
            <a:pPr marL="728663" lvl="1" indent="-271463"/>
            <a:r>
              <a:rPr lang="de-DE" sz="1200" dirty="0"/>
              <a:t>Kraftwerksblöcke mit technischer Beschreibung</a:t>
            </a:r>
          </a:p>
          <a:p>
            <a:pPr marL="728663" lvl="1" indent="-271463"/>
            <a:r>
              <a:rPr lang="de-DE" sz="1200" dirty="0"/>
              <a:t>Windenergieanlagen mit technischer Beschreibung</a:t>
            </a:r>
          </a:p>
          <a:p>
            <a:pPr marL="728663" lvl="1" indent="-271463"/>
            <a:r>
              <a:rPr lang="de-DE" sz="1200" dirty="0"/>
              <a:t>PV-Anlagen im privaten Bereich (Hausdach)</a:t>
            </a:r>
          </a:p>
          <a:p>
            <a:pPr marL="728663" lvl="1" indent="-271463"/>
            <a:r>
              <a:rPr lang="de-DE" sz="1200" dirty="0"/>
              <a:t>Großtechnisch genutzte PV-Anlage</a:t>
            </a:r>
          </a:p>
          <a:p>
            <a:pPr marL="728663" lvl="1" indent="-271463"/>
            <a:r>
              <a:rPr lang="de-DE" sz="1200" dirty="0"/>
              <a:t>Weitere Erneuerbare Energien wie Laufwasser &amp; Biomasse</a:t>
            </a:r>
          </a:p>
          <a:p>
            <a:pPr marL="728663" lvl="1" indent="-271463"/>
            <a:r>
              <a:rPr lang="de-DE" sz="1200" dirty="0"/>
              <a:t>Nachfrageinformationen bzw. typisierte Haushalte.</a:t>
            </a:r>
          </a:p>
          <a:p>
            <a:pPr marL="728663" lvl="1" indent="-271463"/>
            <a:r>
              <a:rPr lang="de-DE" sz="1200" dirty="0"/>
              <a:t>Standortdaten wie Mittelpunkt und Grenze</a:t>
            </a:r>
          </a:p>
          <a:p>
            <a:pPr marL="266700" indent="-266700"/>
            <a:r>
              <a:rPr lang="de-DE" sz="1400" dirty="0"/>
              <a:t>Für jeden simulierten Tag werden die Orderbücher</a:t>
            </a:r>
            <a:br>
              <a:rPr lang="de-DE" sz="1400" dirty="0"/>
            </a:br>
            <a:r>
              <a:rPr lang="de-DE" sz="1400" dirty="0"/>
              <a:t>der Agenten gespeichert und dem Markt zur</a:t>
            </a:r>
            <a:br>
              <a:rPr lang="de-DE" sz="1400" dirty="0"/>
            </a:br>
            <a:r>
              <a:rPr lang="de-DE" sz="1400" dirty="0"/>
              <a:t>Verfügung gestellt.</a:t>
            </a:r>
          </a:p>
          <a:p>
            <a:pPr marL="0" indent="0">
              <a:buNone/>
            </a:pPr>
            <a:endParaRPr lang="de-DE" sz="1400" dirty="0"/>
          </a:p>
          <a:p>
            <a:pPr marL="266700" indent="-266700"/>
            <a:endParaRPr lang="de-DE" sz="1400" dirty="0"/>
          </a:p>
          <a:p>
            <a:pPr marL="552450"/>
            <a:endParaRPr lang="de-DE" sz="1400" dirty="0"/>
          </a:p>
          <a:p>
            <a:pPr lvl="1"/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883EF73-5291-494C-AA9F-11F0C78974E7}"/>
              </a:ext>
            </a:extLst>
          </p:cNvPr>
          <p:cNvGrpSpPr/>
          <p:nvPr/>
        </p:nvGrpSpPr>
        <p:grpSpPr>
          <a:xfrm>
            <a:off x="561829" y="1971054"/>
            <a:ext cx="2077787" cy="4050234"/>
            <a:chOff x="561829" y="1971054"/>
            <a:chExt cx="2077787" cy="4050234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6F0963C-B96E-4D16-9A49-12BA24CAC386}"/>
                </a:ext>
              </a:extLst>
            </p:cNvPr>
            <p:cNvSpPr/>
            <p:nvPr/>
          </p:nvSpPr>
          <p:spPr>
            <a:xfrm>
              <a:off x="561829" y="1971054"/>
              <a:ext cx="2077787" cy="405023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149.201.88.150</a:t>
              </a: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bg1">
                      <a:lumMod val="65000"/>
                    </a:schemeClr>
                  </a:solidFill>
                </a:rPr>
                <a:t>InfluxDB</a:t>
              </a:r>
              <a:endParaRPr lang="de-DE" sz="1200" b="1" dirty="0">
                <a:solidFill>
                  <a:schemeClr val="bg1">
                    <a:lumMod val="65000"/>
                  </a:schemeClr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tx1"/>
                  </a:solidFill>
                </a:rPr>
                <a:t>MongoDB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bg1">
                      <a:lumMod val="65000"/>
                    </a:schemeClr>
                  </a:solidFill>
                </a:rPr>
                <a:t>Plattform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bg1">
                      <a:lumMod val="65000"/>
                    </a:schemeClr>
                  </a:solidFill>
                </a:rPr>
                <a:t>Grafana</a:t>
              </a:r>
              <a:endParaRPr lang="de-DE" sz="12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8" name="Grafik 17" descr="Server">
              <a:extLst>
                <a:ext uri="{FF2B5EF4-FFF2-40B4-BE49-F238E27FC236}">
                  <a16:creationId xmlns:a16="http://schemas.microsoft.com/office/drawing/2014/main" id="{5A1156AF-7F00-42CD-B951-C20ECFA19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77711" y="2345075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Server">
              <a:extLst>
                <a:ext uri="{FF2B5EF4-FFF2-40B4-BE49-F238E27FC236}">
                  <a16:creationId xmlns:a16="http://schemas.microsoft.com/office/drawing/2014/main" id="{CAA53FEE-CCEF-4875-B194-BCBDFF2D3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7711" y="3223909"/>
              <a:ext cx="914400" cy="914400"/>
            </a:xfrm>
            <a:prstGeom prst="rect">
              <a:avLst/>
            </a:prstGeom>
          </p:spPr>
        </p:pic>
        <p:pic>
          <p:nvPicPr>
            <p:cNvPr id="22" name="Grafik 21" descr="Server">
              <a:extLst>
                <a:ext uri="{FF2B5EF4-FFF2-40B4-BE49-F238E27FC236}">
                  <a16:creationId xmlns:a16="http://schemas.microsoft.com/office/drawing/2014/main" id="{06A8FB1F-6E4D-4929-89CA-02B0E07D9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711" y="4102743"/>
              <a:ext cx="914400" cy="914400"/>
            </a:xfrm>
            <a:prstGeom prst="rect">
              <a:avLst/>
            </a:prstGeom>
          </p:spPr>
        </p:pic>
        <p:pic>
          <p:nvPicPr>
            <p:cNvPr id="23" name="Grafik 22" descr="Server">
              <a:extLst>
                <a:ext uri="{FF2B5EF4-FFF2-40B4-BE49-F238E27FC236}">
                  <a16:creationId xmlns:a16="http://schemas.microsoft.com/office/drawing/2014/main" id="{CFBFC56B-C465-44D9-BE68-27C883AC3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7711" y="4981578"/>
              <a:ext cx="914400" cy="914400"/>
            </a:xfrm>
            <a:prstGeom prst="rect">
              <a:avLst/>
            </a:prstGeom>
          </p:spPr>
        </p:pic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D3AD95AB-6862-4663-88AC-B14352ACEB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77197" y="2345075"/>
            <a:ext cx="1831304" cy="188460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8CF32E7-A390-4167-B5AD-4D2549E8B69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9915"/>
          <a:stretch/>
        </p:blipFill>
        <p:spPr>
          <a:xfrm>
            <a:off x="8616280" y="2345075"/>
            <a:ext cx="2521004" cy="188460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1F102AD-428E-4FAA-A3FA-1A5EB2FF5B5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4918" b="36636"/>
          <a:stretch/>
        </p:blipFill>
        <p:spPr>
          <a:xfrm>
            <a:off x="8616280" y="4293096"/>
            <a:ext cx="1902882" cy="1666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60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49D40D-BCBF-4A88-B699-6C7DB076E4F5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de-DE" dirty="0"/>
              <a:t>2 – Infrastruktur der Simul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2638AF-36D0-4F97-BD78-79E0DE9B6E3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fld id="{61456589-9D02-42B6-BF5E-4246F53ADC50}" type="datetime1">
              <a:rPr lang="de-DE" smtClean="0"/>
              <a:t>11.08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0E9AAE-3B4A-4DA1-8E26-A3CCC15ACF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Christian Rieke | Institut NOWUM-Energy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5291B1-15B5-4B94-9B3A-5E9D0674850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7C560E8-A540-43FD-B37B-489019C61E16}" type="slidenum">
              <a:rPr lang="de-DE" altLang="de-DE" smtClean="0"/>
              <a:pPr/>
              <a:t>9</a:t>
            </a:fld>
            <a:endParaRPr lang="de-DE" alt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366723-C095-4AEE-B9CF-FC79D99C90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Die übergeordnete Koordination der Agenten wird von der Plattform übernommen.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589D728-90A6-42ED-B841-291C518DBC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15680" y="1963316"/>
            <a:ext cx="8198720" cy="4012037"/>
          </a:xfrm>
        </p:spPr>
        <p:txBody>
          <a:bodyPr/>
          <a:lstStyle/>
          <a:p>
            <a:pPr marL="0" indent="0">
              <a:buNone/>
            </a:pPr>
            <a:endParaRPr lang="de-DE" sz="1400" dirty="0"/>
          </a:p>
          <a:p>
            <a:pPr marL="266700" indent="-266700"/>
            <a:endParaRPr lang="de-DE" sz="1400" dirty="0"/>
          </a:p>
          <a:p>
            <a:pPr marL="552450"/>
            <a:endParaRPr lang="de-DE" sz="1400" dirty="0"/>
          </a:p>
          <a:p>
            <a:pPr lvl="1"/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883EF73-5291-494C-AA9F-11F0C78974E7}"/>
              </a:ext>
            </a:extLst>
          </p:cNvPr>
          <p:cNvGrpSpPr/>
          <p:nvPr/>
        </p:nvGrpSpPr>
        <p:grpSpPr>
          <a:xfrm>
            <a:off x="561829" y="1971054"/>
            <a:ext cx="2077787" cy="4050234"/>
            <a:chOff x="561829" y="1971054"/>
            <a:chExt cx="2077787" cy="4050234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6F0963C-B96E-4D16-9A49-12BA24CAC386}"/>
                </a:ext>
              </a:extLst>
            </p:cNvPr>
            <p:cNvSpPr/>
            <p:nvPr/>
          </p:nvSpPr>
          <p:spPr>
            <a:xfrm>
              <a:off x="561829" y="1971054"/>
              <a:ext cx="2077787" cy="4050234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de-DE" sz="1200" b="1" dirty="0">
                  <a:solidFill>
                    <a:schemeClr val="tx1"/>
                  </a:solidFill>
                </a:rPr>
                <a:t>149.201.88.150</a:t>
              </a: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bg1">
                      <a:lumMod val="65000"/>
                    </a:schemeClr>
                  </a:solidFill>
                </a:rPr>
                <a:t>InfluxDB</a:t>
              </a:r>
              <a:endParaRPr lang="de-DE" sz="1200" b="1" dirty="0">
                <a:solidFill>
                  <a:schemeClr val="bg1">
                    <a:lumMod val="65000"/>
                  </a:schemeClr>
                </a:solidFill>
              </a:endParaRPr>
            </a:p>
            <a:p>
              <a:pPr lvl="2"/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bg1">
                      <a:lumMod val="65000"/>
                    </a:schemeClr>
                  </a:solidFill>
                </a:rPr>
                <a:t>MongoDB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>
                  <a:solidFill>
                    <a:schemeClr val="tx1"/>
                  </a:solidFill>
                </a:rPr>
                <a:t>Plattform</a:t>
              </a: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3"/>
              <a:endParaRPr lang="de-DE" sz="1200" b="1" dirty="0">
                <a:solidFill>
                  <a:schemeClr val="tx1"/>
                </a:solidFill>
              </a:endParaRPr>
            </a:p>
            <a:p>
              <a:pPr lvl="2"/>
              <a:r>
                <a:rPr lang="de-DE" sz="1200" b="1" dirty="0" err="1">
                  <a:solidFill>
                    <a:schemeClr val="bg1">
                      <a:lumMod val="65000"/>
                    </a:schemeClr>
                  </a:solidFill>
                </a:rPr>
                <a:t>Grafana</a:t>
              </a:r>
              <a:endParaRPr lang="de-DE" sz="12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pic>
          <p:nvPicPr>
            <p:cNvPr id="18" name="Grafik 17" descr="Server">
              <a:extLst>
                <a:ext uri="{FF2B5EF4-FFF2-40B4-BE49-F238E27FC236}">
                  <a16:creationId xmlns:a16="http://schemas.microsoft.com/office/drawing/2014/main" id="{5A1156AF-7F00-42CD-B951-C20ECFA19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7711" y="2345075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Server">
              <a:extLst>
                <a:ext uri="{FF2B5EF4-FFF2-40B4-BE49-F238E27FC236}">
                  <a16:creationId xmlns:a16="http://schemas.microsoft.com/office/drawing/2014/main" id="{CAA53FEE-CCEF-4875-B194-BCBDFF2D3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7711" y="3223909"/>
              <a:ext cx="914400" cy="914400"/>
            </a:xfrm>
            <a:prstGeom prst="rect">
              <a:avLst/>
            </a:prstGeom>
          </p:spPr>
        </p:pic>
        <p:pic>
          <p:nvPicPr>
            <p:cNvPr id="22" name="Grafik 21" descr="Server">
              <a:extLst>
                <a:ext uri="{FF2B5EF4-FFF2-40B4-BE49-F238E27FC236}">
                  <a16:creationId xmlns:a16="http://schemas.microsoft.com/office/drawing/2014/main" id="{06A8FB1F-6E4D-4929-89CA-02B0E07D9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7711" y="4102743"/>
              <a:ext cx="914400" cy="914400"/>
            </a:xfrm>
            <a:prstGeom prst="rect">
              <a:avLst/>
            </a:prstGeom>
          </p:spPr>
        </p:pic>
        <p:pic>
          <p:nvPicPr>
            <p:cNvPr id="23" name="Grafik 22" descr="Server">
              <a:extLst>
                <a:ext uri="{FF2B5EF4-FFF2-40B4-BE49-F238E27FC236}">
                  <a16:creationId xmlns:a16="http://schemas.microsoft.com/office/drawing/2014/main" id="{CFBFC56B-C465-44D9-BE68-27C883AC3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77711" y="4981578"/>
              <a:ext cx="914400" cy="914400"/>
            </a:xfrm>
            <a:prstGeom prst="rect">
              <a:avLst/>
            </a:prstGeom>
          </p:spPr>
        </p:pic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4C40E551-5DEA-4035-B473-9D6CDA3E7CD8}"/>
              </a:ext>
            </a:extLst>
          </p:cNvPr>
          <p:cNvSpPr/>
          <p:nvPr/>
        </p:nvSpPr>
        <p:spPr>
          <a:xfrm>
            <a:off x="3215680" y="5890483"/>
            <a:ext cx="75127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Quelle: https://www.rabbitmq.com/tutorials/tutorial-three-python.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7734906-56A4-44A8-8A90-624F6AD5C7A7}"/>
              </a:ext>
            </a:extLst>
          </p:cNvPr>
          <p:cNvGrpSpPr/>
          <p:nvPr/>
        </p:nvGrpSpPr>
        <p:grpSpPr>
          <a:xfrm>
            <a:off x="3431704" y="2123630"/>
            <a:ext cx="7288012" cy="3505354"/>
            <a:chOff x="3901625" y="2123630"/>
            <a:chExt cx="7288012" cy="3505354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80145CE6-4A93-422E-A981-6AA2E4E69F3A}"/>
                </a:ext>
              </a:extLst>
            </p:cNvPr>
            <p:cNvGrpSpPr/>
            <p:nvPr/>
          </p:nvGrpSpPr>
          <p:grpSpPr>
            <a:xfrm>
              <a:off x="3901625" y="2123630"/>
              <a:ext cx="7288012" cy="2944662"/>
              <a:chOff x="3901625" y="2419129"/>
              <a:chExt cx="7288012" cy="2944662"/>
            </a:xfrm>
          </p:grpSpPr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35EF88FF-BDFA-408E-8E26-C9FB31FA18BA}"/>
                  </a:ext>
                </a:extLst>
              </p:cNvPr>
              <p:cNvSpPr/>
              <p:nvPr/>
            </p:nvSpPr>
            <p:spPr>
              <a:xfrm>
                <a:off x="7386713" y="2419129"/>
                <a:ext cx="1789564" cy="43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</a:rPr>
                  <a:t>RES_1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23F707C0-A2E0-4E91-BD24-00AAFD3C4405}"/>
                  </a:ext>
                </a:extLst>
              </p:cNvPr>
              <p:cNvSpPr/>
              <p:nvPr/>
            </p:nvSpPr>
            <p:spPr>
              <a:xfrm>
                <a:off x="7376077" y="3871354"/>
                <a:ext cx="1800200" cy="43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</a:rPr>
                  <a:t>RES_1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22007C15-CB35-40D9-ACDA-2A7BA490AFF1}"/>
                  </a:ext>
                </a:extLst>
              </p:cNvPr>
              <p:cNvSpPr/>
              <p:nvPr/>
            </p:nvSpPr>
            <p:spPr>
              <a:xfrm>
                <a:off x="9389437" y="4932634"/>
                <a:ext cx="1800200" cy="43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</a:rPr>
                  <a:t>Agent RES_13</a:t>
                </a:r>
              </a:p>
            </p:txBody>
          </p:sp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7AAEE844-523C-4FA5-823E-8AAEE10C2B5C}"/>
                  </a:ext>
                </a:extLst>
              </p:cNvPr>
              <p:cNvSpPr/>
              <p:nvPr/>
            </p:nvSpPr>
            <p:spPr>
              <a:xfrm>
                <a:off x="9336360" y="3565013"/>
                <a:ext cx="1800200" cy="43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Agent RES_12</a:t>
                </a:r>
              </a:p>
            </p:txBody>
          </p:sp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1A853A3C-AD6D-4A94-A71A-BD40AA2E3E5E}"/>
                  </a:ext>
                </a:extLst>
              </p:cNvPr>
              <p:cNvSpPr/>
              <p:nvPr/>
            </p:nvSpPr>
            <p:spPr>
              <a:xfrm>
                <a:off x="3901625" y="4137613"/>
                <a:ext cx="1800200" cy="43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</a:rPr>
                  <a:t>Plattform</a:t>
                </a:r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902A0324-49C0-4C43-9A92-21970C22C4DC}"/>
                  </a:ext>
                </a:extLst>
              </p:cNvPr>
              <p:cNvSpPr/>
              <p:nvPr/>
            </p:nvSpPr>
            <p:spPr>
              <a:xfrm>
                <a:off x="6395936" y="3653301"/>
                <a:ext cx="1800200" cy="43115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</a:rPr>
                  <a:t>Exchange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id="{3C74D7D7-404D-40D5-8122-B0FF3DC5F61F}"/>
                  </a:ext>
                </a:extLst>
              </p:cNvPr>
              <p:cNvSpPr/>
              <p:nvPr/>
            </p:nvSpPr>
            <p:spPr>
              <a:xfrm>
                <a:off x="4441685" y="3565102"/>
                <a:ext cx="720080" cy="612682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P</a:t>
                </a:r>
              </a:p>
            </p:txBody>
          </p:sp>
          <p:sp>
            <p:nvSpPr>
              <p:cNvPr id="39" name="Ellipse 38">
                <a:extLst>
                  <a:ext uri="{FF2B5EF4-FFF2-40B4-BE49-F238E27FC236}">
                    <a16:creationId xmlns:a16="http://schemas.microsoft.com/office/drawing/2014/main" id="{050A4407-FE8E-478A-9D73-356328D4EE7E}"/>
                  </a:ext>
                </a:extLst>
              </p:cNvPr>
              <p:cNvSpPr/>
              <p:nvPr/>
            </p:nvSpPr>
            <p:spPr>
              <a:xfrm>
                <a:off x="5959775" y="3565013"/>
                <a:ext cx="720080" cy="612682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X</a:t>
                </a: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2F760F04-94A4-4FB8-8943-030E6588D2C5}"/>
                  </a:ext>
                </a:extLst>
              </p:cNvPr>
              <p:cNvSpPr/>
              <p:nvPr/>
            </p:nvSpPr>
            <p:spPr>
              <a:xfrm>
                <a:off x="7395859" y="2852936"/>
                <a:ext cx="1789564" cy="59922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0DE340F6-0CC4-4EC7-9879-B570C1865F83}"/>
                  </a:ext>
                </a:extLst>
              </p:cNvPr>
              <p:cNvSpPr/>
              <p:nvPr/>
            </p:nvSpPr>
            <p:spPr>
              <a:xfrm>
                <a:off x="7395859" y="4299349"/>
                <a:ext cx="1789564" cy="599223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A3128E85-02F8-4122-A8E8-FC968965ABC6}"/>
                  </a:ext>
                </a:extLst>
              </p:cNvPr>
              <p:cNvSpPr/>
              <p:nvPr/>
            </p:nvSpPr>
            <p:spPr>
              <a:xfrm>
                <a:off x="9912417" y="2852936"/>
                <a:ext cx="720080" cy="612682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C1</a:t>
                </a:r>
              </a:p>
            </p:txBody>
          </p:sp>
          <p:sp>
            <p:nvSpPr>
              <p:cNvPr id="43" name="Ellipse 42">
                <a:extLst>
                  <a:ext uri="{FF2B5EF4-FFF2-40B4-BE49-F238E27FC236}">
                    <a16:creationId xmlns:a16="http://schemas.microsoft.com/office/drawing/2014/main" id="{8522436A-005B-48B5-A185-7B46ADF9A1C6}"/>
                  </a:ext>
                </a:extLst>
              </p:cNvPr>
              <p:cNvSpPr/>
              <p:nvPr/>
            </p:nvSpPr>
            <p:spPr>
              <a:xfrm>
                <a:off x="9912417" y="4285890"/>
                <a:ext cx="720080" cy="612682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C2</a:t>
                </a:r>
              </a:p>
            </p:txBody>
          </p:sp>
          <p:cxnSp>
            <p:nvCxnSpPr>
              <p:cNvPr id="44" name="Gerade Verbindung mit Pfeil 43">
                <a:extLst>
                  <a:ext uri="{FF2B5EF4-FFF2-40B4-BE49-F238E27FC236}">
                    <a16:creationId xmlns:a16="http://schemas.microsoft.com/office/drawing/2014/main" id="{FF5BC7CC-4D91-4876-B002-3962AC104021}"/>
                  </a:ext>
                </a:extLst>
              </p:cNvPr>
              <p:cNvCxnSpPr>
                <a:stCxn id="38" idx="6"/>
                <a:endCxn id="39" idx="2"/>
              </p:cNvCxnSpPr>
              <p:nvPr/>
            </p:nvCxnSpPr>
            <p:spPr>
              <a:xfrm flipV="1">
                <a:off x="5161765" y="3871354"/>
                <a:ext cx="798010" cy="89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mit Pfeil 44">
                <a:extLst>
                  <a:ext uri="{FF2B5EF4-FFF2-40B4-BE49-F238E27FC236}">
                    <a16:creationId xmlns:a16="http://schemas.microsoft.com/office/drawing/2014/main" id="{6F9E02D1-A197-46CF-8424-9D6891CC3553}"/>
                  </a:ext>
                </a:extLst>
              </p:cNvPr>
              <p:cNvCxnSpPr>
                <a:cxnSpLocks/>
                <a:stCxn id="40" idx="3"/>
                <a:endCxn id="42" idx="2"/>
              </p:cNvCxnSpPr>
              <p:nvPr/>
            </p:nvCxnSpPr>
            <p:spPr>
              <a:xfrm>
                <a:off x="9185423" y="3152548"/>
                <a:ext cx="726994" cy="6729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>
                <a:extLst>
                  <a:ext uri="{FF2B5EF4-FFF2-40B4-BE49-F238E27FC236}">
                    <a16:creationId xmlns:a16="http://schemas.microsoft.com/office/drawing/2014/main" id="{1B82E03D-AC26-4802-9240-D1710B9A44FC}"/>
                  </a:ext>
                </a:extLst>
              </p:cNvPr>
              <p:cNvCxnSpPr>
                <a:cxnSpLocks/>
                <a:stCxn id="41" idx="3"/>
                <a:endCxn id="43" idx="2"/>
              </p:cNvCxnSpPr>
              <p:nvPr/>
            </p:nvCxnSpPr>
            <p:spPr>
              <a:xfrm flipV="1">
                <a:off x="9185423" y="4592231"/>
                <a:ext cx="726994" cy="673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Verbinder: gewinkelt 46">
                <a:extLst>
                  <a:ext uri="{FF2B5EF4-FFF2-40B4-BE49-F238E27FC236}">
                    <a16:creationId xmlns:a16="http://schemas.microsoft.com/office/drawing/2014/main" id="{F929D72F-6355-4A70-877A-F8BFC96544D6}"/>
                  </a:ext>
                </a:extLst>
              </p:cNvPr>
              <p:cNvCxnSpPr>
                <a:stCxn id="39" idx="0"/>
                <a:endCxn id="40" idx="1"/>
              </p:cNvCxnSpPr>
              <p:nvPr/>
            </p:nvCxnSpPr>
            <p:spPr>
              <a:xfrm rot="5400000" flipH="1" flipV="1">
                <a:off x="6651605" y="2820759"/>
                <a:ext cx="412465" cy="1076044"/>
              </a:xfrm>
              <a:prstGeom prst="bentConnector2">
                <a:avLst/>
              </a:prstGeom>
              <a:ln w="28575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Verbinder: gewinkelt 47">
                <a:extLst>
                  <a:ext uri="{FF2B5EF4-FFF2-40B4-BE49-F238E27FC236}">
                    <a16:creationId xmlns:a16="http://schemas.microsoft.com/office/drawing/2014/main" id="{554EA5F5-9952-4741-85BD-1D4AF0FA15DA}"/>
                  </a:ext>
                </a:extLst>
              </p:cNvPr>
              <p:cNvCxnSpPr>
                <a:cxnSpLocks/>
                <a:stCxn id="39" idx="4"/>
                <a:endCxn id="41" idx="1"/>
              </p:cNvCxnSpPr>
              <p:nvPr/>
            </p:nvCxnSpPr>
            <p:spPr>
              <a:xfrm rot="16200000" flipH="1">
                <a:off x="6647204" y="3850306"/>
                <a:ext cx="421266" cy="1076044"/>
              </a:xfrm>
              <a:prstGeom prst="bentConnector2">
                <a:avLst/>
              </a:prstGeom>
              <a:ln w="28575"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17B25B7F-3DA8-4704-BBF4-DEE99BF0E6DA}"/>
                  </a:ext>
                </a:extLst>
              </p:cNvPr>
              <p:cNvSpPr/>
              <p:nvPr/>
            </p:nvSpPr>
            <p:spPr>
              <a:xfrm>
                <a:off x="9372357" y="3489007"/>
                <a:ext cx="1800200" cy="43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</a:rPr>
                  <a:t>Agent RES_12</a:t>
                </a:r>
              </a:p>
            </p:txBody>
          </p: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578373D3-5B46-4274-BFCF-67F7A8293E59}"/>
                  </a:ext>
                </a:extLst>
              </p:cNvPr>
              <p:cNvCxnSpPr/>
              <p:nvPr/>
            </p:nvCxnSpPr>
            <p:spPr>
              <a:xfrm>
                <a:off x="7752184" y="2850286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r Verbinder 50">
                <a:extLst>
                  <a:ext uri="{FF2B5EF4-FFF2-40B4-BE49-F238E27FC236}">
                    <a16:creationId xmlns:a16="http://schemas.microsoft.com/office/drawing/2014/main" id="{CF04441E-0EE9-4063-8FD5-84116D0372C9}"/>
                  </a:ext>
                </a:extLst>
              </p:cNvPr>
              <p:cNvCxnSpPr/>
              <p:nvPr/>
            </p:nvCxnSpPr>
            <p:spPr>
              <a:xfrm>
                <a:off x="8112224" y="2850286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>
                <a:extLst>
                  <a:ext uri="{FF2B5EF4-FFF2-40B4-BE49-F238E27FC236}">
                    <a16:creationId xmlns:a16="http://schemas.microsoft.com/office/drawing/2014/main" id="{D7001E45-4C02-45E1-8645-9BC2A35C1C0F}"/>
                  </a:ext>
                </a:extLst>
              </p:cNvPr>
              <p:cNvCxnSpPr/>
              <p:nvPr/>
            </p:nvCxnSpPr>
            <p:spPr>
              <a:xfrm>
                <a:off x="8472264" y="2850286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>
                <a:extLst>
                  <a:ext uri="{FF2B5EF4-FFF2-40B4-BE49-F238E27FC236}">
                    <a16:creationId xmlns:a16="http://schemas.microsoft.com/office/drawing/2014/main" id="{6F37A25F-115A-4D50-8B13-F46987083467}"/>
                  </a:ext>
                </a:extLst>
              </p:cNvPr>
              <p:cNvCxnSpPr/>
              <p:nvPr/>
            </p:nvCxnSpPr>
            <p:spPr>
              <a:xfrm>
                <a:off x="8832304" y="2850286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9ECCC857-A066-4E0D-8634-D521283C7B5A}"/>
                  </a:ext>
                </a:extLst>
              </p:cNvPr>
              <p:cNvCxnSpPr/>
              <p:nvPr/>
            </p:nvCxnSpPr>
            <p:spPr>
              <a:xfrm>
                <a:off x="7680176" y="4285890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658FAD96-A9DB-4A01-A893-60DA142574AB}"/>
                  </a:ext>
                </a:extLst>
              </p:cNvPr>
              <p:cNvCxnSpPr/>
              <p:nvPr/>
            </p:nvCxnSpPr>
            <p:spPr>
              <a:xfrm>
                <a:off x="8040216" y="4285890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B208D7A3-7796-4147-8F2C-EFAF9F6B9CBD}"/>
                  </a:ext>
                </a:extLst>
              </p:cNvPr>
              <p:cNvCxnSpPr/>
              <p:nvPr/>
            </p:nvCxnSpPr>
            <p:spPr>
              <a:xfrm>
                <a:off x="8400256" y="4285890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207A3495-5D18-4358-8A32-F10E5E2DBD98}"/>
                  </a:ext>
                </a:extLst>
              </p:cNvPr>
              <p:cNvCxnSpPr/>
              <p:nvPr/>
            </p:nvCxnSpPr>
            <p:spPr>
              <a:xfrm>
                <a:off x="8760296" y="4285890"/>
                <a:ext cx="0" cy="601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7595E083-B774-44FE-AD59-CB4046216946}"/>
                </a:ext>
              </a:extLst>
            </p:cNvPr>
            <p:cNvSpPr txBox="1"/>
            <p:nvPr/>
          </p:nvSpPr>
          <p:spPr>
            <a:xfrm>
              <a:off x="4649999" y="5259617"/>
              <a:ext cx="1798302" cy="276999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„</a:t>
              </a:r>
              <a:r>
                <a:rPr lang="de-DE" sz="1200" b="1" i="1" kern="0" dirty="0" err="1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pt_dayAhead</a:t>
              </a: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“</a:t>
              </a: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C73590A0-67C7-4F6E-86FC-514F65000D4C}"/>
                </a:ext>
              </a:extLst>
            </p:cNvPr>
            <p:cNvCxnSpPr/>
            <p:nvPr/>
          </p:nvCxnSpPr>
          <p:spPr>
            <a:xfrm>
              <a:off x="7752184" y="2850286"/>
              <a:ext cx="0" cy="6012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73FC2F2F-1E25-4FD6-8956-5715EB3977AE}"/>
                </a:ext>
              </a:extLst>
            </p:cNvPr>
            <p:cNvCxnSpPr/>
            <p:nvPr/>
          </p:nvCxnSpPr>
          <p:spPr>
            <a:xfrm>
              <a:off x="8112224" y="2850286"/>
              <a:ext cx="0" cy="6012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C55B4E76-C0C2-4212-9C3D-1987CE75A6E3}"/>
                </a:ext>
              </a:extLst>
            </p:cNvPr>
            <p:cNvCxnSpPr/>
            <p:nvPr/>
          </p:nvCxnSpPr>
          <p:spPr>
            <a:xfrm>
              <a:off x="8472264" y="2850286"/>
              <a:ext cx="0" cy="6012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3C97847C-5473-4F2F-8EC6-DA4915F091AF}"/>
                </a:ext>
              </a:extLst>
            </p:cNvPr>
            <p:cNvCxnSpPr/>
            <p:nvPr/>
          </p:nvCxnSpPr>
          <p:spPr>
            <a:xfrm>
              <a:off x="8832304" y="2850286"/>
              <a:ext cx="0" cy="6012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DA489F94-BEBA-4027-9446-9833018DF622}"/>
                </a:ext>
              </a:extLst>
            </p:cNvPr>
            <p:cNvSpPr txBox="1"/>
            <p:nvPr/>
          </p:nvSpPr>
          <p:spPr>
            <a:xfrm>
              <a:off x="9391335" y="5167319"/>
              <a:ext cx="1798302" cy="461665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chemeClr val="accent2">
                    <a:lumMod val="50000"/>
                  </a:schemeClr>
                </a:buClr>
                <a:buSzPct val="110000"/>
              </a:pPr>
              <a:r>
                <a:rPr lang="de-DE" sz="1200" b="1" kern="0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rechnung Optimierung</a:t>
              </a:r>
            </a:p>
          </p:txBody>
        </p:sp>
        <p:cxnSp>
          <p:nvCxnSpPr>
            <p:cNvPr id="31" name="Gerade Verbindung mit Pfeil 30">
              <a:extLst>
                <a:ext uri="{FF2B5EF4-FFF2-40B4-BE49-F238E27FC236}">
                  <a16:creationId xmlns:a16="http://schemas.microsoft.com/office/drawing/2014/main" id="{F340F12E-D350-4AD2-A76A-E2C4C3D50D96}"/>
                </a:ext>
              </a:extLst>
            </p:cNvPr>
            <p:cNvCxnSpPr>
              <a:cxnSpLocks/>
              <a:stCxn id="25" idx="3"/>
              <a:endCxn id="30" idx="1"/>
            </p:cNvCxnSpPr>
            <p:nvPr/>
          </p:nvCxnSpPr>
          <p:spPr>
            <a:xfrm>
              <a:off x="6448301" y="5398117"/>
              <a:ext cx="2943034" cy="35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343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WI Design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000000"/>
      </a:accent6>
      <a:hlink>
        <a:srgbClr val="0000FF"/>
      </a:hlink>
      <a:folHlink>
        <a:srgbClr val="800080"/>
      </a:folHlink>
    </a:clrScheme>
    <a:fontScheme name="Ganymed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solidFill>
            <a:schemeClr val="bg1">
              <a:lumMod val="50000"/>
            </a:schemeClr>
          </a:solidFill>
          <a:prstDash val="solid"/>
        </a:ln>
      </a:spPr>
      <a:bodyPr wrap="square" rtlCol="0">
        <a:spAutoFit/>
      </a:bodyPr>
      <a:lstStyle>
        <a:defPPr eaLnBrk="1" fontAlgn="auto" hangingPunct="1">
          <a:spcBef>
            <a:spcPts val="600"/>
          </a:spcBef>
          <a:spcAft>
            <a:spcPts val="0"/>
          </a:spcAft>
          <a:buClr>
            <a:schemeClr val="accent2">
              <a:lumMod val="50000"/>
            </a:schemeClr>
          </a:buClr>
          <a:buSzPct val="110000"/>
          <a:defRPr sz="1600" kern="0" dirty="0">
            <a:solidFill>
              <a:sysClr val="windowText" lastClr="0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ig-picture" id="{A5C5FC66-834F-48CC-A7E7-DA460C841789}" vid="{9978E5BC-A3BF-412A-B59D-FE02D3468067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6[[fn=Badge]]</Template>
  <TotalTime>0</TotalTime>
  <Words>4787</Words>
  <Application>Microsoft Office PowerPoint</Application>
  <PresentationFormat>Breitbild</PresentationFormat>
  <Paragraphs>1754</Paragraphs>
  <Slides>61</Slides>
  <Notes>3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68" baseType="lpstr">
      <vt:lpstr>Arial</vt:lpstr>
      <vt:lpstr>Calibri</vt:lpstr>
      <vt:lpstr>Cambria Math</vt:lpstr>
      <vt:lpstr>Verdana</vt:lpstr>
      <vt:lpstr>Wingdings</vt:lpstr>
      <vt:lpstr>EWI Design</vt:lpstr>
      <vt:lpstr>think-cell Folie</vt:lpstr>
      <vt:lpstr>Agentenbasierte Simulation AGent-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eke, Christian</dc:creator>
  <cp:lastModifiedBy>Christian Rieke</cp:lastModifiedBy>
  <cp:revision>181</cp:revision>
  <dcterms:created xsi:type="dcterms:W3CDTF">2019-11-13T07:16:30Z</dcterms:created>
  <dcterms:modified xsi:type="dcterms:W3CDTF">2020-08-11T09:42:52Z</dcterms:modified>
</cp:coreProperties>
</file>